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67" r:id="rId1"/>
    <p:sldMasterId id="2147484073" r:id="rId2"/>
    <p:sldMasterId id="2147484077" r:id="rId3"/>
  </p:sldMasterIdLst>
  <p:notesMasterIdLst>
    <p:notesMasterId r:id="rId21"/>
  </p:notesMasterIdLst>
  <p:handoutMasterIdLst>
    <p:handoutMasterId r:id="rId22"/>
  </p:handoutMasterIdLst>
  <p:sldIdLst>
    <p:sldId id="276" r:id="rId4"/>
    <p:sldId id="12449" r:id="rId5"/>
    <p:sldId id="266" r:id="rId6"/>
    <p:sldId id="277" r:id="rId7"/>
    <p:sldId id="12446" r:id="rId8"/>
    <p:sldId id="278" r:id="rId9"/>
    <p:sldId id="12447" r:id="rId10"/>
    <p:sldId id="279" r:id="rId11"/>
    <p:sldId id="12450" r:id="rId12"/>
    <p:sldId id="12451" r:id="rId13"/>
    <p:sldId id="12457" r:id="rId14"/>
    <p:sldId id="12458" r:id="rId15"/>
    <p:sldId id="12452" r:id="rId16"/>
    <p:sldId id="12454" r:id="rId17"/>
    <p:sldId id="12455" r:id="rId18"/>
    <p:sldId id="12456" r:id="rId19"/>
    <p:sldId id="275" r:id="rId20"/>
  </p:sldIdLst>
  <p:sldSz cx="12192000" cy="6858000"/>
  <p:notesSz cx="6858000" cy="9144000"/>
  <p:custDataLst>
    <p:tags r:id="rId23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b="1" kern="1200">
        <a:solidFill>
          <a:schemeClr val="tx1"/>
        </a:solidFill>
        <a:latin typeface="+mj-lt"/>
        <a:ea typeface="+mn-ea"/>
        <a:cs typeface="+mn-cs"/>
      </a:defRPr>
    </a:lvl2pPr>
    <a:lvl3pPr marL="216000" indent="-216000" algn="l" defTabSz="914400" rtl="0" eaLnBrk="1" latinLnBrk="0" hangingPunct="1">
      <a:lnSpc>
        <a:spcPct val="100000"/>
      </a:lnSpc>
      <a:spcBef>
        <a:spcPts val="800"/>
      </a:spcBef>
      <a:buClr>
        <a:schemeClr val="bg2"/>
      </a:buClr>
      <a:buFont typeface="Wingdings" panose="05000000000000000000" pitchFamily="2" charset="2"/>
      <a:buChar char="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9FB5"/>
    <a:srgbClr val="C5DE89"/>
    <a:srgbClr val="97C139"/>
    <a:srgbClr val="BBD700"/>
    <a:srgbClr val="EDF4D7"/>
    <a:srgbClr val="A5A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F574968-8E7B-4BD5-88D0-8983A55FECBE}">
  <a:tblStyle styleId="{FF574968-8E7B-4BD5-88D0-8983A55FECBE}" styleName="FAPS Grün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bg2"/>
              </a:solidFill>
            </a:ln>
          </a:top>
          <a:bottom>
            <a:ln w="12700" cmpd="sng">
              <a:solidFill>
                <a:schemeClr val="bg2"/>
              </a:solidFill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 w="12700" cmpd="sng">
              <a:solidFill>
                <a:schemeClr val="bg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firstRow>
  </a:tblStyle>
  <a:tblStyle styleId="{37BAE8A2-7202-4C22-9C2C-F347EB2FAA6F}" styleName="FAPS Blau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firstRow>
  </a:tblStyle>
  <a:tblStyle styleId="{EBB0CE9F-D716-4860-AF4F-F15B24E0B071}" styleName="FAPS Gelb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26AB2577-4540-4206-9094-D35CD18BC8E0}" styleName="FAPS Orange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722F7E24-ECD2-48BB-A2A0-780832591A68}" styleName="FAPS Red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rgbClr val="990033"/>
              </a:solidFill>
            </a:ln>
          </a:top>
          <a:bottom>
            <a:ln w="12700" cmpd="sng">
              <a:solidFill>
                <a:srgbClr val="990033"/>
              </a:solidFill>
            </a:ln>
          </a:bottom>
          <a:insideH>
            <a:ln w="12700" cmpd="sng">
              <a:solidFill>
                <a:srgbClr val="990033"/>
              </a:solidFill>
            </a:ln>
          </a:insideH>
          <a:insideV>
            <a:ln w="12700" cmpd="sng">
              <a:solidFill>
                <a:srgbClr val="990033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0" autoAdjust="0"/>
    <p:restoredTop sz="96837" autoAdjust="0"/>
  </p:normalViewPr>
  <p:slideViewPr>
    <p:cSldViewPr showGuides="1">
      <p:cViewPr varScale="1">
        <p:scale>
          <a:sx n="107" d="100"/>
          <a:sy n="107" d="100"/>
        </p:scale>
        <p:origin x="672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97" d="100"/>
          <a:sy n="97" d="100"/>
        </p:scale>
        <p:origin x="268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AD00B3-D671-47FF-BB1E-350B49B08DB1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E78C236-D849-4715-8471-2521A853C0AD}">
      <dgm:prSet phldrT="[Text]" phldr="0"/>
      <dgm:spPr/>
      <dgm:t>
        <a:bodyPr/>
        <a:lstStyle/>
        <a:p>
          <a:endParaRPr lang="en-US"/>
        </a:p>
      </dgm:t>
    </dgm:pt>
    <dgm:pt modelId="{5767AE4B-F371-41D9-8C5F-BAEE29E2FF72}" type="parTrans" cxnId="{F89963C7-CBD7-46C7-A4A7-018BBBB1FD57}">
      <dgm:prSet/>
      <dgm:spPr/>
      <dgm:t>
        <a:bodyPr/>
        <a:lstStyle/>
        <a:p>
          <a:endParaRPr lang="en-US"/>
        </a:p>
      </dgm:t>
    </dgm:pt>
    <dgm:pt modelId="{FA2E018B-C5C8-4DA3-AFEE-7CFE9D0FC1AA}" type="sibTrans" cxnId="{F89963C7-CBD7-46C7-A4A7-018BBBB1FD57}">
      <dgm:prSet/>
      <dgm:spPr/>
      <dgm:t>
        <a:bodyPr/>
        <a:lstStyle/>
        <a:p>
          <a:endParaRPr lang="en-US"/>
        </a:p>
      </dgm:t>
    </dgm:pt>
    <dgm:pt modelId="{77FDDBAB-81DA-4A51-9671-8B7EBB77DC4C}">
      <dgm:prSet phldrT="[Text]" phldr="0"/>
      <dgm:spPr/>
      <dgm:t>
        <a:bodyPr/>
        <a:lstStyle/>
        <a:p>
          <a:r>
            <a:rPr lang="en-US" dirty="0">
              <a:latin typeface="Arial"/>
            </a:rPr>
            <a:t>Introduction</a:t>
          </a:r>
          <a:endParaRPr lang="en-US" dirty="0"/>
        </a:p>
      </dgm:t>
    </dgm:pt>
    <dgm:pt modelId="{C7577F89-BE4F-42E1-A47D-AE4F4F468D5D}" type="parTrans" cxnId="{20FBB087-7E7D-4C6B-9F4C-4C34ABE48F79}">
      <dgm:prSet/>
      <dgm:spPr/>
      <dgm:t>
        <a:bodyPr/>
        <a:lstStyle/>
        <a:p>
          <a:endParaRPr lang="en-US"/>
        </a:p>
      </dgm:t>
    </dgm:pt>
    <dgm:pt modelId="{AADA4A69-3187-42C3-8768-82CFE1355AC7}" type="sibTrans" cxnId="{20FBB087-7E7D-4C6B-9F4C-4C34ABE48F79}">
      <dgm:prSet/>
      <dgm:spPr/>
      <dgm:t>
        <a:bodyPr/>
        <a:lstStyle/>
        <a:p>
          <a:endParaRPr lang="en-US"/>
        </a:p>
      </dgm:t>
    </dgm:pt>
    <dgm:pt modelId="{58681B79-6765-4903-95EB-932268F9EE52}">
      <dgm:prSet phldrT="[Text]" phldr="0"/>
      <dgm:spPr/>
      <dgm:t>
        <a:bodyPr/>
        <a:lstStyle/>
        <a:p>
          <a:pPr rtl="0"/>
          <a:endParaRPr lang="en-US"/>
        </a:p>
      </dgm:t>
    </dgm:pt>
    <dgm:pt modelId="{512AD32B-EA13-4C01-A8DB-37246160F227}" type="parTrans" cxnId="{45E6005A-44E1-4471-9BFF-DF745E12BF59}">
      <dgm:prSet/>
      <dgm:spPr/>
      <dgm:t>
        <a:bodyPr/>
        <a:lstStyle/>
        <a:p>
          <a:endParaRPr lang="en-US"/>
        </a:p>
      </dgm:t>
    </dgm:pt>
    <dgm:pt modelId="{6EDF0B8A-4023-41E5-A3F6-281EDF595BA3}" type="sibTrans" cxnId="{45E6005A-44E1-4471-9BFF-DF745E12BF59}">
      <dgm:prSet/>
      <dgm:spPr/>
      <dgm:t>
        <a:bodyPr/>
        <a:lstStyle/>
        <a:p>
          <a:endParaRPr lang="en-US"/>
        </a:p>
      </dgm:t>
    </dgm:pt>
    <dgm:pt modelId="{0699B522-10E9-48C1-976C-0CB0172A0EA4}">
      <dgm:prSet phldr="0"/>
      <dgm:spPr/>
      <dgm:t>
        <a:bodyPr/>
        <a:lstStyle/>
        <a:p>
          <a:pPr rtl="0"/>
          <a:r>
            <a:rPr lang="en-US" dirty="0">
              <a:latin typeface="Arial"/>
            </a:rPr>
            <a:t>Overview of the Project</a:t>
          </a:r>
          <a:endParaRPr lang="en-US" dirty="0"/>
        </a:p>
      </dgm:t>
    </dgm:pt>
    <dgm:pt modelId="{3A0C6BAD-B81D-4DE0-930B-4C476709870D}" type="parTrans" cxnId="{0D1DFC62-D882-46F0-8E4B-7A99DCAD35AF}">
      <dgm:prSet/>
      <dgm:spPr/>
      <dgm:t>
        <a:bodyPr/>
        <a:lstStyle/>
        <a:p>
          <a:endParaRPr lang="en-DE"/>
        </a:p>
      </dgm:t>
    </dgm:pt>
    <dgm:pt modelId="{EA8A59F1-5BD5-4C39-9024-FEEDDFF25158}" type="sibTrans" cxnId="{0D1DFC62-D882-46F0-8E4B-7A99DCAD35AF}">
      <dgm:prSet/>
      <dgm:spPr/>
      <dgm:t>
        <a:bodyPr/>
        <a:lstStyle/>
        <a:p>
          <a:endParaRPr lang="en-DE"/>
        </a:p>
      </dgm:t>
    </dgm:pt>
    <dgm:pt modelId="{9C413504-50EF-4379-A9B5-B764F94B0AED}">
      <dgm:prSet phldr="0"/>
      <dgm:spPr/>
      <dgm:t>
        <a:bodyPr/>
        <a:lstStyle/>
        <a:p>
          <a:endParaRPr lang="en-US">
            <a:latin typeface="Arial"/>
          </a:endParaRPr>
        </a:p>
      </dgm:t>
    </dgm:pt>
    <dgm:pt modelId="{9EA0082B-07C2-46A1-9D84-22D4A31A66B8}" type="parTrans" cxnId="{82EE4B8A-84E2-4738-B393-6919ED1417F8}">
      <dgm:prSet/>
      <dgm:spPr/>
      <dgm:t>
        <a:bodyPr/>
        <a:lstStyle/>
        <a:p>
          <a:endParaRPr lang="en-DE"/>
        </a:p>
      </dgm:t>
    </dgm:pt>
    <dgm:pt modelId="{0539A309-BB75-4323-9521-2A6F341164DE}" type="sibTrans" cxnId="{82EE4B8A-84E2-4738-B393-6919ED1417F8}">
      <dgm:prSet/>
      <dgm:spPr/>
      <dgm:t>
        <a:bodyPr/>
        <a:lstStyle/>
        <a:p>
          <a:endParaRPr lang="en-DE"/>
        </a:p>
      </dgm:t>
    </dgm:pt>
    <dgm:pt modelId="{8F8813C6-B2F3-4208-849A-8CEFFB7517F6}">
      <dgm:prSet phldr="0"/>
      <dgm:spPr/>
      <dgm:t>
        <a:bodyPr/>
        <a:lstStyle/>
        <a:p>
          <a:pPr rtl="0"/>
          <a:r>
            <a:rPr lang="en-US" dirty="0">
              <a:latin typeface="Arial"/>
            </a:rPr>
            <a:t>Research Focus</a:t>
          </a:r>
        </a:p>
      </dgm:t>
    </dgm:pt>
    <dgm:pt modelId="{D99710A5-CE22-4154-8841-25E017E777AC}" type="parTrans" cxnId="{8A4F919D-76EE-4190-B9DF-38283F96C1A8}">
      <dgm:prSet/>
      <dgm:spPr/>
      <dgm:t>
        <a:bodyPr/>
        <a:lstStyle/>
        <a:p>
          <a:endParaRPr lang="en-DE"/>
        </a:p>
      </dgm:t>
    </dgm:pt>
    <dgm:pt modelId="{D42352F6-C13E-4F87-A6C5-EEF75B435C65}" type="sibTrans" cxnId="{8A4F919D-76EE-4190-B9DF-38283F96C1A8}">
      <dgm:prSet/>
      <dgm:spPr/>
      <dgm:t>
        <a:bodyPr/>
        <a:lstStyle/>
        <a:p>
          <a:endParaRPr lang="en-DE"/>
        </a:p>
      </dgm:t>
    </dgm:pt>
    <dgm:pt modelId="{0FA41E4F-D83C-434D-A06E-90E0C33CD9B7}">
      <dgm:prSet phldr="0"/>
      <dgm:spPr/>
      <dgm:t>
        <a:bodyPr/>
        <a:lstStyle/>
        <a:p>
          <a:pPr rtl="0"/>
          <a:endParaRPr lang="en-US">
            <a:latin typeface="Arial"/>
          </a:endParaRPr>
        </a:p>
      </dgm:t>
    </dgm:pt>
    <dgm:pt modelId="{F31FE455-3438-48F6-BE49-EA20ADE213F9}" type="parTrans" cxnId="{80A34618-EC05-4996-9827-BDA37C119CA4}">
      <dgm:prSet/>
      <dgm:spPr/>
      <dgm:t>
        <a:bodyPr/>
        <a:lstStyle/>
        <a:p>
          <a:endParaRPr lang="en-DE"/>
        </a:p>
      </dgm:t>
    </dgm:pt>
    <dgm:pt modelId="{52098EA5-3AA8-422F-8B42-1E18DB32F28F}" type="sibTrans" cxnId="{80A34618-EC05-4996-9827-BDA37C119CA4}">
      <dgm:prSet/>
      <dgm:spPr/>
      <dgm:t>
        <a:bodyPr/>
        <a:lstStyle/>
        <a:p>
          <a:endParaRPr lang="en-DE"/>
        </a:p>
      </dgm:t>
    </dgm:pt>
    <dgm:pt modelId="{05E94AF9-58B0-4A46-BD3F-791BDA1A6D3B}">
      <dgm:prSet phldr="0"/>
      <dgm:spPr/>
      <dgm:t>
        <a:bodyPr/>
        <a:lstStyle/>
        <a:p>
          <a:pPr rtl="0"/>
          <a:r>
            <a:rPr lang="en-US" dirty="0">
              <a:latin typeface="Arial"/>
            </a:rPr>
            <a:t>Data Pipeline Module</a:t>
          </a:r>
        </a:p>
      </dgm:t>
    </dgm:pt>
    <dgm:pt modelId="{8F4B6E2F-275D-4B25-9189-FBA2A179A13C}" type="parTrans" cxnId="{5F4C0F86-85FD-4E26-B00D-82DF9397DF3F}">
      <dgm:prSet/>
      <dgm:spPr/>
      <dgm:t>
        <a:bodyPr/>
        <a:lstStyle/>
        <a:p>
          <a:endParaRPr lang="en-DE"/>
        </a:p>
      </dgm:t>
    </dgm:pt>
    <dgm:pt modelId="{EFF2739F-3BF7-4280-864D-FBBFB8C1140B}" type="sibTrans" cxnId="{5F4C0F86-85FD-4E26-B00D-82DF9397DF3F}">
      <dgm:prSet/>
      <dgm:spPr/>
      <dgm:t>
        <a:bodyPr/>
        <a:lstStyle/>
        <a:p>
          <a:endParaRPr lang="en-DE"/>
        </a:p>
      </dgm:t>
    </dgm:pt>
    <dgm:pt modelId="{93CF17BC-EE9E-408B-9C83-F54D9F4DE310}">
      <dgm:prSet phldr="0"/>
      <dgm:spPr/>
      <dgm:t>
        <a:bodyPr/>
        <a:lstStyle/>
        <a:p>
          <a:pPr rtl="0"/>
          <a:endParaRPr lang="en-US" dirty="0">
            <a:latin typeface="Arial"/>
          </a:endParaRPr>
        </a:p>
      </dgm:t>
    </dgm:pt>
    <dgm:pt modelId="{0A4BAD84-F321-4AD3-AA73-C3C8F72F9C25}" type="parTrans" cxnId="{C1AB493D-5A47-4B9F-B71E-3D41B8F08973}">
      <dgm:prSet/>
      <dgm:spPr/>
      <dgm:t>
        <a:bodyPr/>
        <a:lstStyle/>
        <a:p>
          <a:endParaRPr lang="en-DE"/>
        </a:p>
      </dgm:t>
    </dgm:pt>
    <dgm:pt modelId="{FF26596A-07B9-4C4C-AD70-05C216381F04}" type="sibTrans" cxnId="{C1AB493D-5A47-4B9F-B71E-3D41B8F08973}">
      <dgm:prSet/>
      <dgm:spPr/>
      <dgm:t>
        <a:bodyPr/>
        <a:lstStyle/>
        <a:p>
          <a:endParaRPr lang="en-DE"/>
        </a:p>
      </dgm:t>
    </dgm:pt>
    <dgm:pt modelId="{8BC04301-9FFF-4424-90B3-C6EBAE9B3352}">
      <dgm:prSet/>
      <dgm:spPr/>
      <dgm:t>
        <a:bodyPr/>
        <a:lstStyle/>
        <a:p>
          <a:r>
            <a:rPr lang="en-US" dirty="0"/>
            <a:t>Data Exploration Module</a:t>
          </a:r>
          <a:endParaRPr lang="en-DE" dirty="0"/>
        </a:p>
      </dgm:t>
    </dgm:pt>
    <dgm:pt modelId="{88D7F9E3-9E30-45AF-BD1B-9439ED42EC9B}" type="parTrans" cxnId="{B599A5AE-50AB-4F03-BB72-32717F2FA6DD}">
      <dgm:prSet/>
      <dgm:spPr/>
      <dgm:t>
        <a:bodyPr/>
        <a:lstStyle/>
        <a:p>
          <a:endParaRPr lang="en-DE"/>
        </a:p>
      </dgm:t>
    </dgm:pt>
    <dgm:pt modelId="{7FCF37DB-417B-456E-9B64-B3A666722996}" type="sibTrans" cxnId="{B599A5AE-50AB-4F03-BB72-32717F2FA6DD}">
      <dgm:prSet/>
      <dgm:spPr/>
      <dgm:t>
        <a:bodyPr/>
        <a:lstStyle/>
        <a:p>
          <a:endParaRPr lang="en-DE"/>
        </a:p>
      </dgm:t>
    </dgm:pt>
    <dgm:pt modelId="{5E86C0BC-0E06-4533-8604-8A71206C8DDB}">
      <dgm:prSet/>
      <dgm:spPr/>
      <dgm:t>
        <a:bodyPr/>
        <a:lstStyle/>
        <a:p>
          <a:r>
            <a:rPr lang="en-US" dirty="0"/>
            <a:t>Analysis</a:t>
          </a:r>
          <a:endParaRPr lang="en-DE" dirty="0"/>
        </a:p>
      </dgm:t>
    </dgm:pt>
    <dgm:pt modelId="{6EA26ED8-C58C-4244-BA7A-1627BE00AC13}" type="parTrans" cxnId="{0A275E44-E627-4930-AC8A-2E8A8C6499BC}">
      <dgm:prSet/>
      <dgm:spPr/>
      <dgm:t>
        <a:bodyPr/>
        <a:lstStyle/>
        <a:p>
          <a:endParaRPr lang="en-DE"/>
        </a:p>
      </dgm:t>
    </dgm:pt>
    <dgm:pt modelId="{5AB16DEC-CFBF-4CA6-8AF4-1FA6AAB6D279}" type="sibTrans" cxnId="{0A275E44-E627-4930-AC8A-2E8A8C6499BC}">
      <dgm:prSet/>
      <dgm:spPr/>
      <dgm:t>
        <a:bodyPr/>
        <a:lstStyle/>
        <a:p>
          <a:endParaRPr lang="en-DE"/>
        </a:p>
      </dgm:t>
    </dgm:pt>
    <dgm:pt modelId="{4FE6FEF0-D85E-44B6-B5B4-1B22F9CF1162}">
      <dgm:prSet/>
      <dgm:spPr/>
      <dgm:t>
        <a:bodyPr/>
        <a:lstStyle/>
        <a:p>
          <a:endParaRPr lang="en-DE" dirty="0"/>
        </a:p>
      </dgm:t>
    </dgm:pt>
    <dgm:pt modelId="{5F58E620-B90D-4B46-9831-D6AA0817F21D}" type="parTrans" cxnId="{4358EDC6-3E85-4574-8BF6-6010DAD93D2E}">
      <dgm:prSet/>
      <dgm:spPr/>
      <dgm:t>
        <a:bodyPr/>
        <a:lstStyle/>
        <a:p>
          <a:endParaRPr lang="en-DE"/>
        </a:p>
      </dgm:t>
    </dgm:pt>
    <dgm:pt modelId="{972BA0C9-B972-4A1D-8DB8-D65114ACF6A8}" type="sibTrans" cxnId="{4358EDC6-3E85-4574-8BF6-6010DAD93D2E}">
      <dgm:prSet/>
      <dgm:spPr/>
      <dgm:t>
        <a:bodyPr/>
        <a:lstStyle/>
        <a:p>
          <a:endParaRPr lang="en-DE"/>
        </a:p>
      </dgm:t>
    </dgm:pt>
    <dgm:pt modelId="{EB7D233B-78BD-4A79-9BBF-6B228342D702}">
      <dgm:prSet/>
      <dgm:spPr/>
      <dgm:t>
        <a:bodyPr/>
        <a:lstStyle/>
        <a:p>
          <a:r>
            <a:rPr lang="en-US" dirty="0"/>
            <a:t>Conclusion</a:t>
          </a:r>
          <a:endParaRPr lang="en-DE" dirty="0"/>
        </a:p>
      </dgm:t>
    </dgm:pt>
    <dgm:pt modelId="{028E9ABD-274F-4FD1-B657-A11AF2338CF8}" type="parTrans" cxnId="{97BA1ACF-FDFA-4732-8F7C-5C096B55CC12}">
      <dgm:prSet/>
      <dgm:spPr/>
      <dgm:t>
        <a:bodyPr/>
        <a:lstStyle/>
        <a:p>
          <a:endParaRPr lang="en-DE"/>
        </a:p>
      </dgm:t>
    </dgm:pt>
    <dgm:pt modelId="{94B4F455-466C-4D6E-BACD-C5011F681F0A}" type="sibTrans" cxnId="{97BA1ACF-FDFA-4732-8F7C-5C096B55CC12}">
      <dgm:prSet/>
      <dgm:spPr/>
      <dgm:t>
        <a:bodyPr/>
        <a:lstStyle/>
        <a:p>
          <a:endParaRPr lang="en-DE"/>
        </a:p>
      </dgm:t>
    </dgm:pt>
    <dgm:pt modelId="{2F6BA126-6B98-4BFF-BA71-B720E9553CEB}">
      <dgm:prSet/>
      <dgm:spPr/>
      <dgm:t>
        <a:bodyPr/>
        <a:lstStyle/>
        <a:p>
          <a:endParaRPr lang="en-DE" dirty="0"/>
        </a:p>
      </dgm:t>
    </dgm:pt>
    <dgm:pt modelId="{80EB9C67-E83C-4215-BDA8-FD18856F984B}" type="parTrans" cxnId="{48FFE306-DD19-47E3-98C6-B005801AF379}">
      <dgm:prSet/>
      <dgm:spPr/>
      <dgm:t>
        <a:bodyPr/>
        <a:lstStyle/>
        <a:p>
          <a:endParaRPr lang="en-DE"/>
        </a:p>
      </dgm:t>
    </dgm:pt>
    <dgm:pt modelId="{15E1E93E-F386-4F9F-94C7-F69B55010F85}" type="sibTrans" cxnId="{48FFE306-DD19-47E3-98C6-B005801AF379}">
      <dgm:prSet/>
      <dgm:spPr/>
      <dgm:t>
        <a:bodyPr/>
        <a:lstStyle/>
        <a:p>
          <a:endParaRPr lang="en-DE"/>
        </a:p>
      </dgm:t>
    </dgm:pt>
    <dgm:pt modelId="{C065A75D-D739-4D23-B718-E63752FFAECA}">
      <dgm:prSet/>
      <dgm:spPr/>
      <dgm:t>
        <a:bodyPr/>
        <a:lstStyle/>
        <a:p>
          <a:r>
            <a:rPr lang="en-US" dirty="0"/>
            <a:t>References</a:t>
          </a:r>
          <a:endParaRPr lang="en-DE" dirty="0"/>
        </a:p>
      </dgm:t>
    </dgm:pt>
    <dgm:pt modelId="{FD347B33-C3D2-4698-B342-55956EBEAA50}" type="parTrans" cxnId="{9DC2CA95-91CE-4BDF-A79A-2BF5F65CDCF2}">
      <dgm:prSet/>
      <dgm:spPr/>
      <dgm:t>
        <a:bodyPr/>
        <a:lstStyle/>
        <a:p>
          <a:endParaRPr lang="en-DE"/>
        </a:p>
      </dgm:t>
    </dgm:pt>
    <dgm:pt modelId="{AB933A57-E33A-497C-9DC3-4C4F639F1F54}" type="sibTrans" cxnId="{9DC2CA95-91CE-4BDF-A79A-2BF5F65CDCF2}">
      <dgm:prSet/>
      <dgm:spPr/>
      <dgm:t>
        <a:bodyPr/>
        <a:lstStyle/>
        <a:p>
          <a:endParaRPr lang="en-DE"/>
        </a:p>
      </dgm:t>
    </dgm:pt>
    <dgm:pt modelId="{20F148A7-358C-48BD-BF65-559BB1A4C495}">
      <dgm:prSet/>
      <dgm:spPr/>
      <dgm:t>
        <a:bodyPr/>
        <a:lstStyle/>
        <a:p>
          <a:endParaRPr lang="en-DE" dirty="0"/>
        </a:p>
      </dgm:t>
    </dgm:pt>
    <dgm:pt modelId="{381CE3C4-E0C5-4CBA-AB60-9FEE13218B48}" type="parTrans" cxnId="{8E550065-1882-4B4A-8D4B-0707298A9A99}">
      <dgm:prSet/>
      <dgm:spPr/>
      <dgm:t>
        <a:bodyPr/>
        <a:lstStyle/>
        <a:p>
          <a:endParaRPr lang="en-DE"/>
        </a:p>
      </dgm:t>
    </dgm:pt>
    <dgm:pt modelId="{37046388-3B83-4B0B-9438-2FE46460236C}" type="sibTrans" cxnId="{8E550065-1882-4B4A-8D4B-0707298A9A99}">
      <dgm:prSet/>
      <dgm:spPr/>
      <dgm:t>
        <a:bodyPr/>
        <a:lstStyle/>
        <a:p>
          <a:endParaRPr lang="en-DE"/>
        </a:p>
      </dgm:t>
    </dgm:pt>
    <dgm:pt modelId="{D6B78D3F-D7B4-4652-BE53-B9E69AD0428F}">
      <dgm:prSet/>
      <dgm:spPr/>
      <dgm:t>
        <a:bodyPr/>
        <a:lstStyle/>
        <a:p>
          <a:r>
            <a:rPr lang="en-US" dirty="0"/>
            <a:t>Deployment: CI (Tests &amp; Code Quality Checks)</a:t>
          </a:r>
          <a:endParaRPr lang="en-DE" dirty="0"/>
        </a:p>
      </dgm:t>
    </dgm:pt>
    <dgm:pt modelId="{52AC2463-088B-4139-939B-C491C091430F}" type="parTrans" cxnId="{6B2AE7CF-6532-4451-B902-178BD6521DFE}">
      <dgm:prSet/>
      <dgm:spPr/>
      <dgm:t>
        <a:bodyPr/>
        <a:lstStyle/>
        <a:p>
          <a:endParaRPr lang="en-DE"/>
        </a:p>
      </dgm:t>
    </dgm:pt>
    <dgm:pt modelId="{BAAA4BB0-359E-4919-B097-0B3928D54F9C}" type="sibTrans" cxnId="{6B2AE7CF-6532-4451-B902-178BD6521DFE}">
      <dgm:prSet/>
      <dgm:spPr/>
      <dgm:t>
        <a:bodyPr/>
        <a:lstStyle/>
        <a:p>
          <a:endParaRPr lang="en-DE"/>
        </a:p>
      </dgm:t>
    </dgm:pt>
    <dgm:pt modelId="{AFE41DAD-4EFC-407C-BC3E-F1873C61B4D4}">
      <dgm:prSet/>
      <dgm:spPr/>
      <dgm:t>
        <a:bodyPr/>
        <a:lstStyle/>
        <a:p>
          <a:endParaRPr lang="en-DE" dirty="0"/>
        </a:p>
      </dgm:t>
    </dgm:pt>
    <dgm:pt modelId="{6580E53E-5D66-46BF-AFE8-7A309695BC37}" type="parTrans" cxnId="{719644B4-A865-476C-8633-BAB4D0527B6A}">
      <dgm:prSet/>
      <dgm:spPr/>
      <dgm:t>
        <a:bodyPr/>
        <a:lstStyle/>
        <a:p>
          <a:endParaRPr lang="en-DE"/>
        </a:p>
      </dgm:t>
    </dgm:pt>
    <dgm:pt modelId="{B62CF60D-FC53-4A36-ADC3-A4149E912813}" type="sibTrans" cxnId="{719644B4-A865-476C-8633-BAB4D0527B6A}">
      <dgm:prSet/>
      <dgm:spPr/>
      <dgm:t>
        <a:bodyPr/>
        <a:lstStyle/>
        <a:p>
          <a:endParaRPr lang="en-DE"/>
        </a:p>
      </dgm:t>
    </dgm:pt>
    <dgm:pt modelId="{0C59A63F-F252-43C6-B7F5-B451539CDDB0}">
      <dgm:prSet phldr="0"/>
      <dgm:spPr/>
      <dgm:t>
        <a:bodyPr/>
        <a:lstStyle/>
        <a:p>
          <a:pPr rtl="0"/>
          <a:r>
            <a:rPr lang="en-US" dirty="0">
              <a:latin typeface="Arial"/>
            </a:rPr>
            <a:t>Challenges</a:t>
          </a:r>
        </a:p>
      </dgm:t>
    </dgm:pt>
    <dgm:pt modelId="{142DC9ED-B929-4B8D-9F2E-D08F52B58A1F}" type="parTrans" cxnId="{10EACE6D-0A0C-4B63-ACF9-6D4486E2C217}">
      <dgm:prSet/>
      <dgm:spPr/>
      <dgm:t>
        <a:bodyPr/>
        <a:lstStyle/>
        <a:p>
          <a:endParaRPr lang="en-DE"/>
        </a:p>
      </dgm:t>
    </dgm:pt>
    <dgm:pt modelId="{3A0E0315-8FA8-4376-84D8-412143E6993C}" type="sibTrans" cxnId="{10EACE6D-0A0C-4B63-ACF9-6D4486E2C217}">
      <dgm:prSet/>
      <dgm:spPr/>
      <dgm:t>
        <a:bodyPr/>
        <a:lstStyle/>
        <a:p>
          <a:endParaRPr lang="en-DE"/>
        </a:p>
      </dgm:t>
    </dgm:pt>
    <dgm:pt modelId="{B167D49B-238C-4170-8481-4E17BA10CC38}">
      <dgm:prSet phldr="0"/>
      <dgm:spPr/>
      <dgm:t>
        <a:bodyPr/>
        <a:lstStyle/>
        <a:p>
          <a:pPr rtl="0"/>
          <a:endParaRPr lang="en-US" dirty="0">
            <a:latin typeface="Arial"/>
          </a:endParaRPr>
        </a:p>
      </dgm:t>
    </dgm:pt>
    <dgm:pt modelId="{98737577-962A-4B45-9629-E8DCA7374E33}" type="parTrans" cxnId="{FF870A5F-9761-4C4E-B56F-2A464DE84A24}">
      <dgm:prSet/>
      <dgm:spPr/>
      <dgm:t>
        <a:bodyPr/>
        <a:lstStyle/>
        <a:p>
          <a:endParaRPr lang="en-DE"/>
        </a:p>
      </dgm:t>
    </dgm:pt>
    <dgm:pt modelId="{2BB41593-D919-488A-BEB1-6502106C0D8F}" type="sibTrans" cxnId="{FF870A5F-9761-4C4E-B56F-2A464DE84A24}">
      <dgm:prSet/>
      <dgm:spPr/>
      <dgm:t>
        <a:bodyPr/>
        <a:lstStyle/>
        <a:p>
          <a:endParaRPr lang="en-DE"/>
        </a:p>
      </dgm:t>
    </dgm:pt>
    <dgm:pt modelId="{92A2C7CA-077B-430B-BB38-6EB0039B3A34}">
      <dgm:prSet phldr="0"/>
      <dgm:spPr/>
      <dgm:t>
        <a:bodyPr/>
        <a:lstStyle/>
        <a:p>
          <a:r>
            <a:rPr lang="en-US" dirty="0"/>
            <a:t>Data Sources, Structure and Quality</a:t>
          </a:r>
          <a:endParaRPr lang="en-US" dirty="0">
            <a:latin typeface="Arial"/>
          </a:endParaRPr>
        </a:p>
      </dgm:t>
    </dgm:pt>
    <dgm:pt modelId="{CAC6D7BB-E434-4D0B-8CCE-72B21E94FAE9}" type="parTrans" cxnId="{0DDE8FFD-965A-40B3-903B-557E0617832A}">
      <dgm:prSet/>
      <dgm:spPr/>
      <dgm:t>
        <a:bodyPr/>
        <a:lstStyle/>
        <a:p>
          <a:endParaRPr lang="en-DE"/>
        </a:p>
      </dgm:t>
    </dgm:pt>
    <dgm:pt modelId="{5BD58E26-F97A-4F89-8FE4-ABB8E7373A46}" type="sibTrans" cxnId="{0DDE8FFD-965A-40B3-903B-557E0617832A}">
      <dgm:prSet/>
      <dgm:spPr/>
      <dgm:t>
        <a:bodyPr/>
        <a:lstStyle/>
        <a:p>
          <a:endParaRPr lang="en-DE"/>
        </a:p>
      </dgm:t>
    </dgm:pt>
    <dgm:pt modelId="{F119C965-83FC-44A7-AB12-C586071163CA}">
      <dgm:prSet phldr="0"/>
      <dgm:spPr/>
      <dgm:t>
        <a:bodyPr/>
        <a:lstStyle/>
        <a:p>
          <a:pPr rtl="0"/>
          <a:endParaRPr lang="en-US" dirty="0">
            <a:latin typeface="Arial"/>
          </a:endParaRPr>
        </a:p>
      </dgm:t>
    </dgm:pt>
    <dgm:pt modelId="{99803395-29E5-4DDF-8B6A-5149D53FB341}" type="parTrans" cxnId="{830DD0E7-FECD-480D-82E4-7ACB4C1875AE}">
      <dgm:prSet/>
      <dgm:spPr/>
      <dgm:t>
        <a:bodyPr/>
        <a:lstStyle/>
        <a:p>
          <a:endParaRPr lang="en-DE"/>
        </a:p>
      </dgm:t>
    </dgm:pt>
    <dgm:pt modelId="{506BCD9A-13EF-4C47-992B-846BBF7CFF96}" type="sibTrans" cxnId="{830DD0E7-FECD-480D-82E4-7ACB4C1875AE}">
      <dgm:prSet/>
      <dgm:spPr/>
      <dgm:t>
        <a:bodyPr/>
        <a:lstStyle/>
        <a:p>
          <a:endParaRPr lang="en-DE"/>
        </a:p>
      </dgm:t>
    </dgm:pt>
    <dgm:pt modelId="{3DF26301-00E9-4BF3-AE6B-FA7FB4ECA99E}">
      <dgm:prSet/>
      <dgm:spPr/>
      <dgm:t>
        <a:bodyPr/>
        <a:lstStyle/>
        <a:p>
          <a:r>
            <a:rPr lang="en-US" dirty="0"/>
            <a:t>Documentation</a:t>
          </a:r>
          <a:endParaRPr lang="en-DE" dirty="0"/>
        </a:p>
      </dgm:t>
    </dgm:pt>
    <dgm:pt modelId="{C093EA2D-5896-4E39-BC6F-273651F6BDDD}" type="parTrans" cxnId="{892A0342-DA32-44D5-9F3B-38FDCCD4BF62}">
      <dgm:prSet/>
      <dgm:spPr/>
      <dgm:t>
        <a:bodyPr/>
        <a:lstStyle/>
        <a:p>
          <a:endParaRPr lang="en-DE"/>
        </a:p>
      </dgm:t>
    </dgm:pt>
    <dgm:pt modelId="{D7D054F7-13E8-437B-A90F-712A947C5967}" type="sibTrans" cxnId="{892A0342-DA32-44D5-9F3B-38FDCCD4BF62}">
      <dgm:prSet/>
      <dgm:spPr/>
      <dgm:t>
        <a:bodyPr/>
        <a:lstStyle/>
        <a:p>
          <a:endParaRPr lang="en-DE"/>
        </a:p>
      </dgm:t>
    </dgm:pt>
    <dgm:pt modelId="{E4F49230-2171-4C10-AC83-E35F7AC2A26B}">
      <dgm:prSet/>
      <dgm:spPr/>
      <dgm:t>
        <a:bodyPr/>
        <a:lstStyle/>
        <a:p>
          <a:endParaRPr lang="en-DE" dirty="0"/>
        </a:p>
      </dgm:t>
    </dgm:pt>
    <dgm:pt modelId="{F02D67F6-DE91-47A4-874F-896C1CBAC874}" type="parTrans" cxnId="{9EF434C1-A423-494D-806E-82A035868F78}">
      <dgm:prSet/>
      <dgm:spPr/>
      <dgm:t>
        <a:bodyPr/>
        <a:lstStyle/>
        <a:p>
          <a:endParaRPr lang="en-DE"/>
        </a:p>
      </dgm:t>
    </dgm:pt>
    <dgm:pt modelId="{C7A5FEE4-ACF1-48F9-9438-1A71AC6341E3}" type="sibTrans" cxnId="{9EF434C1-A423-494D-806E-82A035868F78}">
      <dgm:prSet/>
      <dgm:spPr/>
      <dgm:t>
        <a:bodyPr/>
        <a:lstStyle/>
        <a:p>
          <a:endParaRPr lang="en-DE"/>
        </a:p>
      </dgm:t>
    </dgm:pt>
    <dgm:pt modelId="{188B823B-D733-4F45-A0EC-F297BBB04A56}" type="pres">
      <dgm:prSet presAssocID="{35AD00B3-D671-47FF-BB1E-350B49B08DB1}" presName="linearFlow" presStyleCnt="0">
        <dgm:presLayoutVars>
          <dgm:dir/>
          <dgm:animLvl val="lvl"/>
          <dgm:resizeHandles val="exact"/>
        </dgm:presLayoutVars>
      </dgm:prSet>
      <dgm:spPr/>
    </dgm:pt>
    <dgm:pt modelId="{D59AB475-B862-495C-8E0F-74C4E37DE669}" type="pres">
      <dgm:prSet presAssocID="{4E78C236-D849-4715-8471-2521A853C0AD}" presName="composite" presStyleCnt="0"/>
      <dgm:spPr/>
    </dgm:pt>
    <dgm:pt modelId="{08215073-997C-4D4A-A477-FBCC321E6C75}" type="pres">
      <dgm:prSet presAssocID="{4E78C236-D849-4715-8471-2521A853C0AD}" presName="parentText" presStyleLbl="alignNode1" presStyleIdx="0" presStyleCnt="12">
        <dgm:presLayoutVars>
          <dgm:chMax val="1"/>
          <dgm:bulletEnabled val="1"/>
        </dgm:presLayoutVars>
      </dgm:prSet>
      <dgm:spPr/>
    </dgm:pt>
    <dgm:pt modelId="{CA5EBD83-0F5C-43C8-AD09-7E950AA2253C}" type="pres">
      <dgm:prSet presAssocID="{4E78C236-D849-4715-8471-2521A853C0AD}" presName="descendantText" presStyleLbl="alignAcc1" presStyleIdx="0" presStyleCnt="12">
        <dgm:presLayoutVars>
          <dgm:bulletEnabled val="1"/>
        </dgm:presLayoutVars>
      </dgm:prSet>
      <dgm:spPr/>
    </dgm:pt>
    <dgm:pt modelId="{6133D9FD-AFFA-4EE5-84D5-551622C3E3DD}" type="pres">
      <dgm:prSet presAssocID="{FA2E018B-C5C8-4DA3-AFEE-7CFE9D0FC1AA}" presName="sp" presStyleCnt="0"/>
      <dgm:spPr/>
    </dgm:pt>
    <dgm:pt modelId="{A437F2E9-3534-43FB-A760-5E59628EE37D}" type="pres">
      <dgm:prSet presAssocID="{58681B79-6765-4903-95EB-932268F9EE52}" presName="composite" presStyleCnt="0"/>
      <dgm:spPr/>
    </dgm:pt>
    <dgm:pt modelId="{E69AA3B3-9EF2-4E6D-A100-2D21D8736A15}" type="pres">
      <dgm:prSet presAssocID="{58681B79-6765-4903-95EB-932268F9EE52}" presName="parentText" presStyleLbl="alignNode1" presStyleIdx="1" presStyleCnt="12">
        <dgm:presLayoutVars>
          <dgm:chMax val="1"/>
          <dgm:bulletEnabled val="1"/>
        </dgm:presLayoutVars>
      </dgm:prSet>
      <dgm:spPr/>
    </dgm:pt>
    <dgm:pt modelId="{4DC6DEA1-D862-42DD-A91B-9DC46B6A86F4}" type="pres">
      <dgm:prSet presAssocID="{58681B79-6765-4903-95EB-932268F9EE52}" presName="descendantText" presStyleLbl="alignAcc1" presStyleIdx="1" presStyleCnt="12">
        <dgm:presLayoutVars>
          <dgm:bulletEnabled val="1"/>
        </dgm:presLayoutVars>
      </dgm:prSet>
      <dgm:spPr/>
    </dgm:pt>
    <dgm:pt modelId="{B2E76C27-DD6B-4AA2-94D2-E996F23C97C0}" type="pres">
      <dgm:prSet presAssocID="{6EDF0B8A-4023-41E5-A3F6-281EDF595BA3}" presName="sp" presStyleCnt="0"/>
      <dgm:spPr/>
    </dgm:pt>
    <dgm:pt modelId="{53DB2F02-6BB2-45E7-B782-01BAC60F096F}" type="pres">
      <dgm:prSet presAssocID="{B167D49B-238C-4170-8481-4E17BA10CC38}" presName="composite" presStyleCnt="0"/>
      <dgm:spPr/>
    </dgm:pt>
    <dgm:pt modelId="{E22CD7B2-7C8D-412C-AE68-DC266FBA7A11}" type="pres">
      <dgm:prSet presAssocID="{B167D49B-238C-4170-8481-4E17BA10CC38}" presName="parentText" presStyleLbl="alignNode1" presStyleIdx="2" presStyleCnt="12">
        <dgm:presLayoutVars>
          <dgm:chMax val="1"/>
          <dgm:bulletEnabled val="1"/>
        </dgm:presLayoutVars>
      </dgm:prSet>
      <dgm:spPr/>
    </dgm:pt>
    <dgm:pt modelId="{A67D538C-5C32-482E-B0C2-1800A02BBC2E}" type="pres">
      <dgm:prSet presAssocID="{B167D49B-238C-4170-8481-4E17BA10CC38}" presName="descendantText" presStyleLbl="alignAcc1" presStyleIdx="2" presStyleCnt="12">
        <dgm:presLayoutVars>
          <dgm:bulletEnabled val="1"/>
        </dgm:presLayoutVars>
      </dgm:prSet>
      <dgm:spPr/>
    </dgm:pt>
    <dgm:pt modelId="{62296D6A-3E6A-4326-89F4-CF94696C5DBE}" type="pres">
      <dgm:prSet presAssocID="{2BB41593-D919-488A-BEB1-6502106C0D8F}" presName="sp" presStyleCnt="0"/>
      <dgm:spPr/>
    </dgm:pt>
    <dgm:pt modelId="{6BE4329D-6437-4D09-AB3E-9414419D91D2}" type="pres">
      <dgm:prSet presAssocID="{F119C965-83FC-44A7-AB12-C586071163CA}" presName="composite" presStyleCnt="0"/>
      <dgm:spPr/>
    </dgm:pt>
    <dgm:pt modelId="{81AFDE93-9860-4F66-8633-23F0BF20AD0D}" type="pres">
      <dgm:prSet presAssocID="{F119C965-83FC-44A7-AB12-C586071163CA}" presName="parentText" presStyleLbl="alignNode1" presStyleIdx="3" presStyleCnt="12">
        <dgm:presLayoutVars>
          <dgm:chMax val="1"/>
          <dgm:bulletEnabled val="1"/>
        </dgm:presLayoutVars>
      </dgm:prSet>
      <dgm:spPr/>
    </dgm:pt>
    <dgm:pt modelId="{CDCD3524-C452-4043-9517-C6922393C8D2}" type="pres">
      <dgm:prSet presAssocID="{F119C965-83FC-44A7-AB12-C586071163CA}" presName="descendantText" presStyleLbl="alignAcc1" presStyleIdx="3" presStyleCnt="12">
        <dgm:presLayoutVars>
          <dgm:bulletEnabled val="1"/>
        </dgm:presLayoutVars>
      </dgm:prSet>
      <dgm:spPr/>
    </dgm:pt>
    <dgm:pt modelId="{E4903300-B5D0-45A9-B0BD-BE65B4704675}" type="pres">
      <dgm:prSet presAssocID="{506BCD9A-13EF-4C47-992B-846BBF7CFF96}" presName="sp" presStyleCnt="0"/>
      <dgm:spPr/>
    </dgm:pt>
    <dgm:pt modelId="{ADBB4D5B-6AB5-4915-9D37-3BF0F82A411D}" type="pres">
      <dgm:prSet presAssocID="{0FA41E4F-D83C-434D-A06E-90E0C33CD9B7}" presName="composite" presStyleCnt="0"/>
      <dgm:spPr/>
    </dgm:pt>
    <dgm:pt modelId="{EEA75348-6761-49B7-B912-4DB56B699A00}" type="pres">
      <dgm:prSet presAssocID="{0FA41E4F-D83C-434D-A06E-90E0C33CD9B7}" presName="parentText" presStyleLbl="alignNode1" presStyleIdx="4" presStyleCnt="12">
        <dgm:presLayoutVars>
          <dgm:chMax val="1"/>
          <dgm:bulletEnabled val="1"/>
        </dgm:presLayoutVars>
      </dgm:prSet>
      <dgm:spPr/>
    </dgm:pt>
    <dgm:pt modelId="{96AD506A-2C38-4196-A2F5-0491EF51B474}" type="pres">
      <dgm:prSet presAssocID="{0FA41E4F-D83C-434D-A06E-90E0C33CD9B7}" presName="descendantText" presStyleLbl="alignAcc1" presStyleIdx="4" presStyleCnt="12">
        <dgm:presLayoutVars>
          <dgm:bulletEnabled val="1"/>
        </dgm:presLayoutVars>
      </dgm:prSet>
      <dgm:spPr/>
    </dgm:pt>
    <dgm:pt modelId="{36B9F357-275B-4385-92C5-FAD0414A181B}" type="pres">
      <dgm:prSet presAssocID="{52098EA5-3AA8-422F-8B42-1E18DB32F28F}" presName="sp" presStyleCnt="0"/>
      <dgm:spPr/>
    </dgm:pt>
    <dgm:pt modelId="{467C49B5-F1DA-4DA7-9255-41210A331F06}" type="pres">
      <dgm:prSet presAssocID="{9C413504-50EF-4379-A9B5-B764F94B0AED}" presName="composite" presStyleCnt="0"/>
      <dgm:spPr/>
    </dgm:pt>
    <dgm:pt modelId="{D18D824B-590A-48F4-A3C2-1A27007B7CE5}" type="pres">
      <dgm:prSet presAssocID="{9C413504-50EF-4379-A9B5-B764F94B0AED}" presName="parentText" presStyleLbl="alignNode1" presStyleIdx="5" presStyleCnt="12">
        <dgm:presLayoutVars>
          <dgm:chMax val="1"/>
          <dgm:bulletEnabled val="1"/>
        </dgm:presLayoutVars>
      </dgm:prSet>
      <dgm:spPr/>
    </dgm:pt>
    <dgm:pt modelId="{CA6580DE-45BE-4D6A-9F11-7180117409B6}" type="pres">
      <dgm:prSet presAssocID="{9C413504-50EF-4379-A9B5-B764F94B0AED}" presName="descendantText" presStyleLbl="alignAcc1" presStyleIdx="5" presStyleCnt="12">
        <dgm:presLayoutVars>
          <dgm:bulletEnabled val="1"/>
        </dgm:presLayoutVars>
      </dgm:prSet>
      <dgm:spPr/>
    </dgm:pt>
    <dgm:pt modelId="{746E06F1-6743-4BD1-9243-61DE09D61172}" type="pres">
      <dgm:prSet presAssocID="{0539A309-BB75-4323-9521-2A6F341164DE}" presName="sp" presStyleCnt="0"/>
      <dgm:spPr/>
    </dgm:pt>
    <dgm:pt modelId="{8C8E85B2-D69A-48F3-8E40-A6CF324B0A83}" type="pres">
      <dgm:prSet presAssocID="{93CF17BC-EE9E-408B-9C83-F54D9F4DE310}" presName="composite" presStyleCnt="0"/>
      <dgm:spPr/>
    </dgm:pt>
    <dgm:pt modelId="{8EE1F83E-20FC-406B-8C37-2E86F65E8FCB}" type="pres">
      <dgm:prSet presAssocID="{93CF17BC-EE9E-408B-9C83-F54D9F4DE310}" presName="parentText" presStyleLbl="alignNode1" presStyleIdx="6" presStyleCnt="12">
        <dgm:presLayoutVars>
          <dgm:chMax val="1"/>
          <dgm:bulletEnabled val="1"/>
        </dgm:presLayoutVars>
      </dgm:prSet>
      <dgm:spPr/>
    </dgm:pt>
    <dgm:pt modelId="{B712C99A-42AD-4C8D-906F-CF16C00F4A45}" type="pres">
      <dgm:prSet presAssocID="{93CF17BC-EE9E-408B-9C83-F54D9F4DE310}" presName="descendantText" presStyleLbl="alignAcc1" presStyleIdx="6" presStyleCnt="12">
        <dgm:presLayoutVars>
          <dgm:bulletEnabled val="1"/>
        </dgm:presLayoutVars>
      </dgm:prSet>
      <dgm:spPr/>
    </dgm:pt>
    <dgm:pt modelId="{F3AE5313-59E8-45DE-9C69-735957F84DFA}" type="pres">
      <dgm:prSet presAssocID="{FF26596A-07B9-4C4C-AD70-05C216381F04}" presName="sp" presStyleCnt="0"/>
      <dgm:spPr/>
    </dgm:pt>
    <dgm:pt modelId="{A444F9F9-1BC8-495C-B635-AEE114C8D6E1}" type="pres">
      <dgm:prSet presAssocID="{AFE41DAD-4EFC-407C-BC3E-F1873C61B4D4}" presName="composite" presStyleCnt="0"/>
      <dgm:spPr/>
    </dgm:pt>
    <dgm:pt modelId="{62A51BF7-9B86-4ACF-9B24-BDAE36670251}" type="pres">
      <dgm:prSet presAssocID="{AFE41DAD-4EFC-407C-BC3E-F1873C61B4D4}" presName="parentText" presStyleLbl="alignNode1" presStyleIdx="7" presStyleCnt="12">
        <dgm:presLayoutVars>
          <dgm:chMax val="1"/>
          <dgm:bulletEnabled val="1"/>
        </dgm:presLayoutVars>
      </dgm:prSet>
      <dgm:spPr/>
    </dgm:pt>
    <dgm:pt modelId="{9C8A9338-6733-414C-B2EA-3359EAB5C7AC}" type="pres">
      <dgm:prSet presAssocID="{AFE41DAD-4EFC-407C-BC3E-F1873C61B4D4}" presName="descendantText" presStyleLbl="alignAcc1" presStyleIdx="7" presStyleCnt="12">
        <dgm:presLayoutVars>
          <dgm:bulletEnabled val="1"/>
        </dgm:presLayoutVars>
      </dgm:prSet>
      <dgm:spPr/>
    </dgm:pt>
    <dgm:pt modelId="{7707DA8C-BAF9-488E-84DF-2390F13FA969}" type="pres">
      <dgm:prSet presAssocID="{B62CF60D-FC53-4A36-ADC3-A4149E912813}" presName="sp" presStyleCnt="0"/>
      <dgm:spPr/>
    </dgm:pt>
    <dgm:pt modelId="{3C4C2F61-39C0-4294-8EC9-7B3CFD160CCD}" type="pres">
      <dgm:prSet presAssocID="{E4F49230-2171-4C10-AC83-E35F7AC2A26B}" presName="composite" presStyleCnt="0"/>
      <dgm:spPr/>
    </dgm:pt>
    <dgm:pt modelId="{6E000F3C-1FD0-4D4C-A360-6BF84FDF5846}" type="pres">
      <dgm:prSet presAssocID="{E4F49230-2171-4C10-AC83-E35F7AC2A26B}" presName="parentText" presStyleLbl="alignNode1" presStyleIdx="8" presStyleCnt="12">
        <dgm:presLayoutVars>
          <dgm:chMax val="1"/>
          <dgm:bulletEnabled val="1"/>
        </dgm:presLayoutVars>
      </dgm:prSet>
      <dgm:spPr/>
    </dgm:pt>
    <dgm:pt modelId="{83BF6D58-7F83-48E5-A9E5-69877B3F7AA1}" type="pres">
      <dgm:prSet presAssocID="{E4F49230-2171-4C10-AC83-E35F7AC2A26B}" presName="descendantText" presStyleLbl="alignAcc1" presStyleIdx="8" presStyleCnt="12">
        <dgm:presLayoutVars>
          <dgm:bulletEnabled val="1"/>
        </dgm:presLayoutVars>
      </dgm:prSet>
      <dgm:spPr/>
    </dgm:pt>
    <dgm:pt modelId="{94B6F1CC-4C4D-4F23-965D-5B4F4C6BD002}" type="pres">
      <dgm:prSet presAssocID="{C7A5FEE4-ACF1-48F9-9438-1A71AC6341E3}" presName="sp" presStyleCnt="0"/>
      <dgm:spPr/>
    </dgm:pt>
    <dgm:pt modelId="{7772CAC1-0A07-4116-84F7-6E788B91D629}" type="pres">
      <dgm:prSet presAssocID="{4FE6FEF0-D85E-44B6-B5B4-1B22F9CF1162}" presName="composite" presStyleCnt="0"/>
      <dgm:spPr/>
    </dgm:pt>
    <dgm:pt modelId="{F59465BE-D65F-4814-8F5D-5663AE286D02}" type="pres">
      <dgm:prSet presAssocID="{4FE6FEF0-D85E-44B6-B5B4-1B22F9CF1162}" presName="parentText" presStyleLbl="alignNode1" presStyleIdx="9" presStyleCnt="12">
        <dgm:presLayoutVars>
          <dgm:chMax val="1"/>
          <dgm:bulletEnabled val="1"/>
        </dgm:presLayoutVars>
      </dgm:prSet>
      <dgm:spPr/>
    </dgm:pt>
    <dgm:pt modelId="{B60635A0-2C6B-4ACB-8A9D-CE49A6847847}" type="pres">
      <dgm:prSet presAssocID="{4FE6FEF0-D85E-44B6-B5B4-1B22F9CF1162}" presName="descendantText" presStyleLbl="alignAcc1" presStyleIdx="9" presStyleCnt="12">
        <dgm:presLayoutVars>
          <dgm:bulletEnabled val="1"/>
        </dgm:presLayoutVars>
      </dgm:prSet>
      <dgm:spPr/>
    </dgm:pt>
    <dgm:pt modelId="{30B3D35F-FBA4-4348-AF71-39D98F42680F}" type="pres">
      <dgm:prSet presAssocID="{972BA0C9-B972-4A1D-8DB8-D65114ACF6A8}" presName="sp" presStyleCnt="0"/>
      <dgm:spPr/>
    </dgm:pt>
    <dgm:pt modelId="{E0AA486C-90C1-4952-B5A5-EA7578A1F921}" type="pres">
      <dgm:prSet presAssocID="{2F6BA126-6B98-4BFF-BA71-B720E9553CEB}" presName="composite" presStyleCnt="0"/>
      <dgm:spPr/>
    </dgm:pt>
    <dgm:pt modelId="{6ACC1AE5-611F-4350-9E24-84466B45CDAF}" type="pres">
      <dgm:prSet presAssocID="{2F6BA126-6B98-4BFF-BA71-B720E9553CEB}" presName="parentText" presStyleLbl="alignNode1" presStyleIdx="10" presStyleCnt="12">
        <dgm:presLayoutVars>
          <dgm:chMax val="1"/>
          <dgm:bulletEnabled val="1"/>
        </dgm:presLayoutVars>
      </dgm:prSet>
      <dgm:spPr/>
    </dgm:pt>
    <dgm:pt modelId="{28979EF1-B8F7-4A99-9434-157759429AAF}" type="pres">
      <dgm:prSet presAssocID="{2F6BA126-6B98-4BFF-BA71-B720E9553CEB}" presName="descendantText" presStyleLbl="alignAcc1" presStyleIdx="10" presStyleCnt="12">
        <dgm:presLayoutVars>
          <dgm:bulletEnabled val="1"/>
        </dgm:presLayoutVars>
      </dgm:prSet>
      <dgm:spPr/>
    </dgm:pt>
    <dgm:pt modelId="{5AFEE9AB-9401-4BD7-A44E-EA637954BB22}" type="pres">
      <dgm:prSet presAssocID="{15E1E93E-F386-4F9F-94C7-F69B55010F85}" presName="sp" presStyleCnt="0"/>
      <dgm:spPr/>
    </dgm:pt>
    <dgm:pt modelId="{E95A28CD-5AC5-430D-9B0A-F1A7E3769965}" type="pres">
      <dgm:prSet presAssocID="{20F148A7-358C-48BD-BF65-559BB1A4C495}" presName="composite" presStyleCnt="0"/>
      <dgm:spPr/>
    </dgm:pt>
    <dgm:pt modelId="{F7EC3A0B-ED43-4D35-9A15-3B85FDACE4D4}" type="pres">
      <dgm:prSet presAssocID="{20F148A7-358C-48BD-BF65-559BB1A4C495}" presName="parentText" presStyleLbl="alignNode1" presStyleIdx="11" presStyleCnt="12">
        <dgm:presLayoutVars>
          <dgm:chMax val="1"/>
          <dgm:bulletEnabled val="1"/>
        </dgm:presLayoutVars>
      </dgm:prSet>
      <dgm:spPr/>
    </dgm:pt>
    <dgm:pt modelId="{71C5997A-6B45-4899-9943-00542DB0CA77}" type="pres">
      <dgm:prSet presAssocID="{20F148A7-358C-48BD-BF65-559BB1A4C495}" presName="descendantText" presStyleLbl="alignAcc1" presStyleIdx="11" presStyleCnt="12">
        <dgm:presLayoutVars>
          <dgm:bulletEnabled val="1"/>
        </dgm:presLayoutVars>
      </dgm:prSet>
      <dgm:spPr/>
    </dgm:pt>
  </dgm:ptLst>
  <dgm:cxnLst>
    <dgm:cxn modelId="{E7761F04-55EB-461A-B473-76C0348535EE}" type="presOf" srcId="{20F148A7-358C-48BD-BF65-559BB1A4C495}" destId="{F7EC3A0B-ED43-4D35-9A15-3B85FDACE4D4}" srcOrd="0" destOrd="0" presId="urn:microsoft.com/office/officeart/2005/8/layout/chevron2"/>
    <dgm:cxn modelId="{48FFE306-DD19-47E3-98C6-B005801AF379}" srcId="{35AD00B3-D671-47FF-BB1E-350B49B08DB1}" destId="{2F6BA126-6B98-4BFF-BA71-B720E9553CEB}" srcOrd="10" destOrd="0" parTransId="{80EB9C67-E83C-4215-BDA8-FD18856F984B}" sibTransId="{15E1E93E-F386-4F9F-94C7-F69B55010F85}"/>
    <dgm:cxn modelId="{04F2DC0B-4578-4736-817A-39E4F34A5C1B}" type="presOf" srcId="{93CF17BC-EE9E-408B-9C83-F54D9F4DE310}" destId="{8EE1F83E-20FC-406B-8C37-2E86F65E8FCB}" srcOrd="0" destOrd="0" presId="urn:microsoft.com/office/officeart/2005/8/layout/chevron2"/>
    <dgm:cxn modelId="{80A34618-EC05-4996-9827-BDA37C119CA4}" srcId="{35AD00B3-D671-47FF-BB1E-350B49B08DB1}" destId="{0FA41E4F-D83C-434D-A06E-90E0C33CD9B7}" srcOrd="4" destOrd="0" parTransId="{F31FE455-3438-48F6-BE49-EA20ADE213F9}" sibTransId="{52098EA5-3AA8-422F-8B42-1E18DB32F28F}"/>
    <dgm:cxn modelId="{8A3ADD18-DCB2-4C60-8CD5-ABC50A7FB151}" type="presOf" srcId="{5E86C0BC-0E06-4533-8604-8A71206C8DDB}" destId="{B60635A0-2C6B-4ACB-8A9D-CE49A6847847}" srcOrd="0" destOrd="0" presId="urn:microsoft.com/office/officeart/2005/8/layout/chevron2"/>
    <dgm:cxn modelId="{1447181C-566E-4CE6-9295-FEDACD581573}" type="presOf" srcId="{C065A75D-D739-4D23-B718-E63752FFAECA}" destId="{71C5997A-6B45-4899-9943-00542DB0CA77}" srcOrd="0" destOrd="0" presId="urn:microsoft.com/office/officeart/2005/8/layout/chevron2"/>
    <dgm:cxn modelId="{2981541E-3459-432F-BDED-0CD0F9CAEFCE}" type="presOf" srcId="{92A2C7CA-077B-430B-BB38-6EB0039B3A34}" destId="{CDCD3524-C452-4043-9517-C6922393C8D2}" srcOrd="0" destOrd="0" presId="urn:microsoft.com/office/officeart/2005/8/layout/chevron2"/>
    <dgm:cxn modelId="{CF85AC1E-0CED-430A-8162-03136495F3FB}" type="presOf" srcId="{E4F49230-2171-4C10-AC83-E35F7AC2A26B}" destId="{6E000F3C-1FD0-4D4C-A360-6BF84FDF5846}" srcOrd="0" destOrd="0" presId="urn:microsoft.com/office/officeart/2005/8/layout/chevron2"/>
    <dgm:cxn modelId="{480E8B29-0991-4447-B7C5-D35CCCC7A29F}" type="presOf" srcId="{2F6BA126-6B98-4BFF-BA71-B720E9553CEB}" destId="{6ACC1AE5-611F-4350-9E24-84466B45CDAF}" srcOrd="0" destOrd="0" presId="urn:microsoft.com/office/officeart/2005/8/layout/chevron2"/>
    <dgm:cxn modelId="{FD7E6D2F-4C0A-4041-ADC1-9FFD4C1D9534}" type="presOf" srcId="{9C413504-50EF-4379-A9B5-B764F94B0AED}" destId="{D18D824B-590A-48F4-A3C2-1A27007B7CE5}" srcOrd="0" destOrd="0" presId="urn:microsoft.com/office/officeart/2005/8/layout/chevron2"/>
    <dgm:cxn modelId="{8F23E437-71A0-4A6D-98AE-5C9ED15DB576}" type="presOf" srcId="{8F8813C6-B2F3-4208-849A-8CEFFB7517F6}" destId="{4DC6DEA1-D862-42DD-A91B-9DC46B6A86F4}" srcOrd="0" destOrd="0" presId="urn:microsoft.com/office/officeart/2005/8/layout/chevron2"/>
    <dgm:cxn modelId="{C1AB493D-5A47-4B9F-B71E-3D41B8F08973}" srcId="{35AD00B3-D671-47FF-BB1E-350B49B08DB1}" destId="{93CF17BC-EE9E-408B-9C83-F54D9F4DE310}" srcOrd="6" destOrd="0" parTransId="{0A4BAD84-F321-4AD3-AA73-C3C8F72F9C25}" sibTransId="{FF26596A-07B9-4C4C-AD70-05C216381F04}"/>
    <dgm:cxn modelId="{FF870A5F-9761-4C4E-B56F-2A464DE84A24}" srcId="{35AD00B3-D671-47FF-BB1E-350B49B08DB1}" destId="{B167D49B-238C-4170-8481-4E17BA10CC38}" srcOrd="2" destOrd="0" parTransId="{98737577-962A-4B45-9629-E8DCA7374E33}" sibTransId="{2BB41593-D919-488A-BEB1-6502106C0D8F}"/>
    <dgm:cxn modelId="{43FBBF60-B019-4275-810C-918584206FF9}" type="presOf" srcId="{8BC04301-9FFF-4424-90B3-C6EBAE9B3352}" destId="{B712C99A-42AD-4C8D-906F-CF16C00F4A45}" srcOrd="0" destOrd="0" presId="urn:microsoft.com/office/officeart/2005/8/layout/chevron2"/>
    <dgm:cxn modelId="{892A0342-DA32-44D5-9F3B-38FDCCD4BF62}" srcId="{E4F49230-2171-4C10-AC83-E35F7AC2A26B}" destId="{3DF26301-00E9-4BF3-AE6B-FA7FB4ECA99E}" srcOrd="0" destOrd="0" parTransId="{C093EA2D-5896-4E39-BC6F-273651F6BDDD}" sibTransId="{D7D054F7-13E8-437B-A90F-712A947C5967}"/>
    <dgm:cxn modelId="{0D1DFC62-D882-46F0-8E4B-7A99DCAD35AF}" srcId="{0FA41E4F-D83C-434D-A06E-90E0C33CD9B7}" destId="{0699B522-10E9-48C1-976C-0CB0172A0EA4}" srcOrd="0" destOrd="0" parTransId="{3A0C6BAD-B81D-4DE0-930B-4C476709870D}" sibTransId="{EA8A59F1-5BD5-4C39-9024-FEEDDFF25158}"/>
    <dgm:cxn modelId="{0A275E44-E627-4930-AC8A-2E8A8C6499BC}" srcId="{4FE6FEF0-D85E-44B6-B5B4-1B22F9CF1162}" destId="{5E86C0BC-0E06-4533-8604-8A71206C8DDB}" srcOrd="0" destOrd="0" parTransId="{6EA26ED8-C58C-4244-BA7A-1627BE00AC13}" sibTransId="{5AB16DEC-CFBF-4CA6-8AF4-1FA6AAB6D279}"/>
    <dgm:cxn modelId="{8E550065-1882-4B4A-8D4B-0707298A9A99}" srcId="{35AD00B3-D671-47FF-BB1E-350B49B08DB1}" destId="{20F148A7-358C-48BD-BF65-559BB1A4C495}" srcOrd="11" destOrd="0" parTransId="{381CE3C4-E0C5-4CBA-AB60-9FEE13218B48}" sibTransId="{37046388-3B83-4B0B-9438-2FE46460236C}"/>
    <dgm:cxn modelId="{10EACE6D-0A0C-4B63-ACF9-6D4486E2C217}" srcId="{B167D49B-238C-4170-8481-4E17BA10CC38}" destId="{0C59A63F-F252-43C6-B7F5-B451539CDDB0}" srcOrd="0" destOrd="0" parTransId="{142DC9ED-B929-4B8D-9F2E-D08F52B58A1F}" sibTransId="{3A0E0315-8FA8-4376-84D8-412143E6993C}"/>
    <dgm:cxn modelId="{BC7D3C51-2B43-4F0E-B807-41D008041D8C}" type="presOf" srcId="{05E94AF9-58B0-4A46-BD3F-791BDA1A6D3B}" destId="{CA6580DE-45BE-4D6A-9F11-7180117409B6}" srcOrd="0" destOrd="0" presId="urn:microsoft.com/office/officeart/2005/8/layout/chevron2"/>
    <dgm:cxn modelId="{45E6005A-44E1-4471-9BFF-DF745E12BF59}" srcId="{35AD00B3-D671-47FF-BB1E-350B49B08DB1}" destId="{58681B79-6765-4903-95EB-932268F9EE52}" srcOrd="1" destOrd="0" parTransId="{512AD32B-EA13-4C01-A8DB-37246160F227}" sibTransId="{6EDF0B8A-4023-41E5-A3F6-281EDF595BA3}"/>
    <dgm:cxn modelId="{3C5E917B-072D-4ECB-B5CD-5A2AEF494946}" type="presOf" srcId="{0C59A63F-F252-43C6-B7F5-B451539CDDB0}" destId="{A67D538C-5C32-482E-B0C2-1800A02BBC2E}" srcOrd="0" destOrd="0" presId="urn:microsoft.com/office/officeart/2005/8/layout/chevron2"/>
    <dgm:cxn modelId="{ACE6817F-FAD1-4178-BB61-777DCB526F39}" type="presOf" srcId="{3DF26301-00E9-4BF3-AE6B-FA7FB4ECA99E}" destId="{83BF6D58-7F83-48E5-A9E5-69877B3F7AA1}" srcOrd="0" destOrd="0" presId="urn:microsoft.com/office/officeart/2005/8/layout/chevron2"/>
    <dgm:cxn modelId="{5F4C0F86-85FD-4E26-B00D-82DF9397DF3F}" srcId="{9C413504-50EF-4379-A9B5-B764F94B0AED}" destId="{05E94AF9-58B0-4A46-BD3F-791BDA1A6D3B}" srcOrd="0" destOrd="0" parTransId="{8F4B6E2F-275D-4B25-9189-FBA2A179A13C}" sibTransId="{EFF2739F-3BF7-4280-864D-FBBFB8C1140B}"/>
    <dgm:cxn modelId="{20FBB087-7E7D-4C6B-9F4C-4C34ABE48F79}" srcId="{4E78C236-D849-4715-8471-2521A853C0AD}" destId="{77FDDBAB-81DA-4A51-9671-8B7EBB77DC4C}" srcOrd="0" destOrd="0" parTransId="{C7577F89-BE4F-42E1-A47D-AE4F4F468D5D}" sibTransId="{AADA4A69-3187-42C3-8768-82CFE1355AC7}"/>
    <dgm:cxn modelId="{82EE4B8A-84E2-4738-B393-6919ED1417F8}" srcId="{35AD00B3-D671-47FF-BB1E-350B49B08DB1}" destId="{9C413504-50EF-4379-A9B5-B764F94B0AED}" srcOrd="5" destOrd="0" parTransId="{9EA0082B-07C2-46A1-9D84-22D4A31A66B8}" sibTransId="{0539A309-BB75-4323-9521-2A6F341164DE}"/>
    <dgm:cxn modelId="{9DC2CA95-91CE-4BDF-A79A-2BF5F65CDCF2}" srcId="{20F148A7-358C-48BD-BF65-559BB1A4C495}" destId="{C065A75D-D739-4D23-B718-E63752FFAECA}" srcOrd="0" destOrd="0" parTransId="{FD347B33-C3D2-4698-B342-55956EBEAA50}" sibTransId="{AB933A57-E33A-497C-9DC3-4C4F639F1F54}"/>
    <dgm:cxn modelId="{DB13AE99-7BF5-4556-A956-9C31A160D33C}" type="presOf" srcId="{0FA41E4F-D83C-434D-A06E-90E0C33CD9B7}" destId="{EEA75348-6761-49B7-B912-4DB56B699A00}" srcOrd="0" destOrd="0" presId="urn:microsoft.com/office/officeart/2005/8/layout/chevron2"/>
    <dgm:cxn modelId="{8A4F919D-76EE-4190-B9DF-38283F96C1A8}" srcId="{58681B79-6765-4903-95EB-932268F9EE52}" destId="{8F8813C6-B2F3-4208-849A-8CEFFB7517F6}" srcOrd="0" destOrd="0" parTransId="{D99710A5-CE22-4154-8841-25E017E777AC}" sibTransId="{D42352F6-C13E-4F87-A6C5-EEF75B435C65}"/>
    <dgm:cxn modelId="{6AC0F4A9-5759-4FF0-B8D9-BC31334B5113}" type="presOf" srcId="{B167D49B-238C-4170-8481-4E17BA10CC38}" destId="{E22CD7B2-7C8D-412C-AE68-DC266FBA7A11}" srcOrd="0" destOrd="0" presId="urn:microsoft.com/office/officeart/2005/8/layout/chevron2"/>
    <dgm:cxn modelId="{B599A5AE-50AB-4F03-BB72-32717F2FA6DD}" srcId="{93CF17BC-EE9E-408B-9C83-F54D9F4DE310}" destId="{8BC04301-9FFF-4424-90B3-C6EBAE9B3352}" srcOrd="0" destOrd="0" parTransId="{88D7F9E3-9E30-45AF-BD1B-9439ED42EC9B}" sibTransId="{7FCF37DB-417B-456E-9B64-B3A666722996}"/>
    <dgm:cxn modelId="{719644B4-A865-476C-8633-BAB4D0527B6A}" srcId="{35AD00B3-D671-47FF-BB1E-350B49B08DB1}" destId="{AFE41DAD-4EFC-407C-BC3E-F1873C61B4D4}" srcOrd="7" destOrd="0" parTransId="{6580E53E-5D66-46BF-AFE8-7A309695BC37}" sibTransId="{B62CF60D-FC53-4A36-ADC3-A4149E912813}"/>
    <dgm:cxn modelId="{E74459C0-7143-4E03-919A-383B1CB570B6}" type="presOf" srcId="{EB7D233B-78BD-4A79-9BBF-6B228342D702}" destId="{28979EF1-B8F7-4A99-9434-157759429AAF}" srcOrd="0" destOrd="0" presId="urn:microsoft.com/office/officeart/2005/8/layout/chevron2"/>
    <dgm:cxn modelId="{54DEC8C0-4AC4-4BA5-B716-C29AA51E55CD}" type="presOf" srcId="{35AD00B3-D671-47FF-BB1E-350B49B08DB1}" destId="{188B823B-D733-4F45-A0EC-F297BBB04A56}" srcOrd="0" destOrd="0" presId="urn:microsoft.com/office/officeart/2005/8/layout/chevron2"/>
    <dgm:cxn modelId="{9EF434C1-A423-494D-806E-82A035868F78}" srcId="{35AD00B3-D671-47FF-BB1E-350B49B08DB1}" destId="{E4F49230-2171-4C10-AC83-E35F7AC2A26B}" srcOrd="8" destOrd="0" parTransId="{F02D67F6-DE91-47A4-874F-896C1CBAC874}" sibTransId="{C7A5FEE4-ACF1-48F9-9438-1A71AC6341E3}"/>
    <dgm:cxn modelId="{4358EDC6-3E85-4574-8BF6-6010DAD93D2E}" srcId="{35AD00B3-D671-47FF-BB1E-350B49B08DB1}" destId="{4FE6FEF0-D85E-44B6-B5B4-1B22F9CF1162}" srcOrd="9" destOrd="0" parTransId="{5F58E620-B90D-4B46-9831-D6AA0817F21D}" sibTransId="{972BA0C9-B972-4A1D-8DB8-D65114ACF6A8}"/>
    <dgm:cxn modelId="{F89963C7-CBD7-46C7-A4A7-018BBBB1FD57}" srcId="{35AD00B3-D671-47FF-BB1E-350B49B08DB1}" destId="{4E78C236-D849-4715-8471-2521A853C0AD}" srcOrd="0" destOrd="0" parTransId="{5767AE4B-F371-41D9-8C5F-BAEE29E2FF72}" sibTransId="{FA2E018B-C5C8-4DA3-AFEE-7CFE9D0FC1AA}"/>
    <dgm:cxn modelId="{97BA1ACF-FDFA-4732-8F7C-5C096B55CC12}" srcId="{2F6BA126-6B98-4BFF-BA71-B720E9553CEB}" destId="{EB7D233B-78BD-4A79-9BBF-6B228342D702}" srcOrd="0" destOrd="0" parTransId="{028E9ABD-274F-4FD1-B657-A11AF2338CF8}" sibTransId="{94B4F455-466C-4D6E-BACD-C5011F681F0A}"/>
    <dgm:cxn modelId="{6B2AE7CF-6532-4451-B902-178BD6521DFE}" srcId="{AFE41DAD-4EFC-407C-BC3E-F1873C61B4D4}" destId="{D6B78D3F-D7B4-4652-BE53-B9E69AD0428F}" srcOrd="0" destOrd="0" parTransId="{52AC2463-088B-4139-939B-C491C091430F}" sibTransId="{BAAA4BB0-359E-4919-B097-0B3928D54F9C}"/>
    <dgm:cxn modelId="{BBE192D1-04E7-459B-8265-7F73AE268D15}" type="presOf" srcId="{0699B522-10E9-48C1-976C-0CB0172A0EA4}" destId="{96AD506A-2C38-4196-A2F5-0491EF51B474}" srcOrd="0" destOrd="0" presId="urn:microsoft.com/office/officeart/2005/8/layout/chevron2"/>
    <dgm:cxn modelId="{9F4C58D5-471C-4754-8732-D9E62D50833D}" type="presOf" srcId="{F119C965-83FC-44A7-AB12-C586071163CA}" destId="{81AFDE93-9860-4F66-8633-23F0BF20AD0D}" srcOrd="0" destOrd="0" presId="urn:microsoft.com/office/officeart/2005/8/layout/chevron2"/>
    <dgm:cxn modelId="{D7487DD6-6607-4AB1-84D7-3DD5C0EE8EAE}" type="presOf" srcId="{58681B79-6765-4903-95EB-932268F9EE52}" destId="{E69AA3B3-9EF2-4E6D-A100-2D21D8736A15}" srcOrd="0" destOrd="0" presId="urn:microsoft.com/office/officeart/2005/8/layout/chevron2"/>
    <dgm:cxn modelId="{A90DDAD8-250E-4ADD-BA39-358398501922}" type="presOf" srcId="{4FE6FEF0-D85E-44B6-B5B4-1B22F9CF1162}" destId="{F59465BE-D65F-4814-8F5D-5663AE286D02}" srcOrd="0" destOrd="0" presId="urn:microsoft.com/office/officeart/2005/8/layout/chevron2"/>
    <dgm:cxn modelId="{4CAC8EDA-BE1D-48CB-90EE-482E0B56EA36}" type="presOf" srcId="{4E78C236-D849-4715-8471-2521A853C0AD}" destId="{08215073-997C-4D4A-A477-FBCC321E6C75}" srcOrd="0" destOrd="0" presId="urn:microsoft.com/office/officeart/2005/8/layout/chevron2"/>
    <dgm:cxn modelId="{830DD0E7-FECD-480D-82E4-7ACB4C1875AE}" srcId="{35AD00B3-D671-47FF-BB1E-350B49B08DB1}" destId="{F119C965-83FC-44A7-AB12-C586071163CA}" srcOrd="3" destOrd="0" parTransId="{99803395-29E5-4DDF-8B6A-5149D53FB341}" sibTransId="{506BCD9A-13EF-4C47-992B-846BBF7CFF96}"/>
    <dgm:cxn modelId="{5652E2F3-D9F8-436A-8DA7-57D3802BAD21}" type="presOf" srcId="{AFE41DAD-4EFC-407C-BC3E-F1873C61B4D4}" destId="{62A51BF7-9B86-4ACF-9B24-BDAE36670251}" srcOrd="0" destOrd="0" presId="urn:microsoft.com/office/officeart/2005/8/layout/chevron2"/>
    <dgm:cxn modelId="{CB6DD9F6-13C9-41A4-AA48-3182476A018A}" type="presOf" srcId="{77FDDBAB-81DA-4A51-9671-8B7EBB77DC4C}" destId="{CA5EBD83-0F5C-43C8-AD09-7E950AA2253C}" srcOrd="0" destOrd="0" presId="urn:microsoft.com/office/officeart/2005/8/layout/chevron2"/>
    <dgm:cxn modelId="{DC60BBFC-AB0E-4D5B-891F-3EDCC7F048EB}" type="presOf" srcId="{D6B78D3F-D7B4-4652-BE53-B9E69AD0428F}" destId="{9C8A9338-6733-414C-B2EA-3359EAB5C7AC}" srcOrd="0" destOrd="0" presId="urn:microsoft.com/office/officeart/2005/8/layout/chevron2"/>
    <dgm:cxn modelId="{0DDE8FFD-965A-40B3-903B-557E0617832A}" srcId="{F119C965-83FC-44A7-AB12-C586071163CA}" destId="{92A2C7CA-077B-430B-BB38-6EB0039B3A34}" srcOrd="0" destOrd="0" parTransId="{CAC6D7BB-E434-4D0B-8CCE-72B21E94FAE9}" sibTransId="{5BD58E26-F97A-4F89-8FE4-ABB8E7373A46}"/>
    <dgm:cxn modelId="{67753D6D-4B41-49EE-90C0-BF54524C56A4}" type="presParOf" srcId="{188B823B-D733-4F45-A0EC-F297BBB04A56}" destId="{D59AB475-B862-495C-8E0F-74C4E37DE669}" srcOrd="0" destOrd="0" presId="urn:microsoft.com/office/officeart/2005/8/layout/chevron2"/>
    <dgm:cxn modelId="{B0222B32-28D2-479B-ADCF-AA9D84245D09}" type="presParOf" srcId="{D59AB475-B862-495C-8E0F-74C4E37DE669}" destId="{08215073-997C-4D4A-A477-FBCC321E6C75}" srcOrd="0" destOrd="0" presId="urn:microsoft.com/office/officeart/2005/8/layout/chevron2"/>
    <dgm:cxn modelId="{9D7AD145-7A52-4F87-A7D7-F2EC807032CB}" type="presParOf" srcId="{D59AB475-B862-495C-8E0F-74C4E37DE669}" destId="{CA5EBD83-0F5C-43C8-AD09-7E950AA2253C}" srcOrd="1" destOrd="0" presId="urn:microsoft.com/office/officeart/2005/8/layout/chevron2"/>
    <dgm:cxn modelId="{16BAC5D6-837D-4D26-9FDA-57C94E478F3C}" type="presParOf" srcId="{188B823B-D733-4F45-A0EC-F297BBB04A56}" destId="{6133D9FD-AFFA-4EE5-84D5-551622C3E3DD}" srcOrd="1" destOrd="0" presId="urn:microsoft.com/office/officeart/2005/8/layout/chevron2"/>
    <dgm:cxn modelId="{FD953A4A-3AB3-4586-9DB3-BB762CDA1C74}" type="presParOf" srcId="{188B823B-D733-4F45-A0EC-F297BBB04A56}" destId="{A437F2E9-3534-43FB-A760-5E59628EE37D}" srcOrd="2" destOrd="0" presId="urn:microsoft.com/office/officeart/2005/8/layout/chevron2"/>
    <dgm:cxn modelId="{BF686F87-8E51-4239-9F38-79D0DEDE8B53}" type="presParOf" srcId="{A437F2E9-3534-43FB-A760-5E59628EE37D}" destId="{E69AA3B3-9EF2-4E6D-A100-2D21D8736A15}" srcOrd="0" destOrd="0" presId="urn:microsoft.com/office/officeart/2005/8/layout/chevron2"/>
    <dgm:cxn modelId="{C9E3AAC3-18C6-4086-AA57-1F417E8D2041}" type="presParOf" srcId="{A437F2E9-3534-43FB-A760-5E59628EE37D}" destId="{4DC6DEA1-D862-42DD-A91B-9DC46B6A86F4}" srcOrd="1" destOrd="0" presId="urn:microsoft.com/office/officeart/2005/8/layout/chevron2"/>
    <dgm:cxn modelId="{B5AED53D-E181-480B-AAC5-74753843B20D}" type="presParOf" srcId="{188B823B-D733-4F45-A0EC-F297BBB04A56}" destId="{B2E76C27-DD6B-4AA2-94D2-E996F23C97C0}" srcOrd="3" destOrd="0" presId="urn:microsoft.com/office/officeart/2005/8/layout/chevron2"/>
    <dgm:cxn modelId="{D376E53B-25AB-4FDA-AC36-80870384F83D}" type="presParOf" srcId="{188B823B-D733-4F45-A0EC-F297BBB04A56}" destId="{53DB2F02-6BB2-45E7-B782-01BAC60F096F}" srcOrd="4" destOrd="0" presId="urn:microsoft.com/office/officeart/2005/8/layout/chevron2"/>
    <dgm:cxn modelId="{02B0883F-5260-467F-AD9D-DE91668C0934}" type="presParOf" srcId="{53DB2F02-6BB2-45E7-B782-01BAC60F096F}" destId="{E22CD7B2-7C8D-412C-AE68-DC266FBA7A11}" srcOrd="0" destOrd="0" presId="urn:microsoft.com/office/officeart/2005/8/layout/chevron2"/>
    <dgm:cxn modelId="{28A547A6-91D0-4983-B247-FE72AD167C15}" type="presParOf" srcId="{53DB2F02-6BB2-45E7-B782-01BAC60F096F}" destId="{A67D538C-5C32-482E-B0C2-1800A02BBC2E}" srcOrd="1" destOrd="0" presId="urn:microsoft.com/office/officeart/2005/8/layout/chevron2"/>
    <dgm:cxn modelId="{F7A36911-68B9-46CC-922D-E2065D1C8E68}" type="presParOf" srcId="{188B823B-D733-4F45-A0EC-F297BBB04A56}" destId="{62296D6A-3E6A-4326-89F4-CF94696C5DBE}" srcOrd="5" destOrd="0" presId="urn:microsoft.com/office/officeart/2005/8/layout/chevron2"/>
    <dgm:cxn modelId="{E4DAC523-75BC-4D51-B36F-2FC15CEDA131}" type="presParOf" srcId="{188B823B-D733-4F45-A0EC-F297BBB04A56}" destId="{6BE4329D-6437-4D09-AB3E-9414419D91D2}" srcOrd="6" destOrd="0" presId="urn:microsoft.com/office/officeart/2005/8/layout/chevron2"/>
    <dgm:cxn modelId="{3F1D499E-30A6-4B5B-B696-51AA295B8F40}" type="presParOf" srcId="{6BE4329D-6437-4D09-AB3E-9414419D91D2}" destId="{81AFDE93-9860-4F66-8633-23F0BF20AD0D}" srcOrd="0" destOrd="0" presId="urn:microsoft.com/office/officeart/2005/8/layout/chevron2"/>
    <dgm:cxn modelId="{90653DFE-6630-45BD-8791-727CDDF61B32}" type="presParOf" srcId="{6BE4329D-6437-4D09-AB3E-9414419D91D2}" destId="{CDCD3524-C452-4043-9517-C6922393C8D2}" srcOrd="1" destOrd="0" presId="urn:microsoft.com/office/officeart/2005/8/layout/chevron2"/>
    <dgm:cxn modelId="{93A79137-5F24-4C96-8B68-A7ECEC5CA95B}" type="presParOf" srcId="{188B823B-D733-4F45-A0EC-F297BBB04A56}" destId="{E4903300-B5D0-45A9-B0BD-BE65B4704675}" srcOrd="7" destOrd="0" presId="urn:microsoft.com/office/officeart/2005/8/layout/chevron2"/>
    <dgm:cxn modelId="{FE8EA0C5-09B6-466A-83D8-8C1330D9D558}" type="presParOf" srcId="{188B823B-D733-4F45-A0EC-F297BBB04A56}" destId="{ADBB4D5B-6AB5-4915-9D37-3BF0F82A411D}" srcOrd="8" destOrd="0" presId="urn:microsoft.com/office/officeart/2005/8/layout/chevron2"/>
    <dgm:cxn modelId="{A998A355-EF94-43CD-8914-E024C4A3FB39}" type="presParOf" srcId="{ADBB4D5B-6AB5-4915-9D37-3BF0F82A411D}" destId="{EEA75348-6761-49B7-B912-4DB56B699A00}" srcOrd="0" destOrd="0" presId="urn:microsoft.com/office/officeart/2005/8/layout/chevron2"/>
    <dgm:cxn modelId="{ED9C00EF-FD3A-4047-AE51-1B292C650001}" type="presParOf" srcId="{ADBB4D5B-6AB5-4915-9D37-3BF0F82A411D}" destId="{96AD506A-2C38-4196-A2F5-0491EF51B474}" srcOrd="1" destOrd="0" presId="urn:microsoft.com/office/officeart/2005/8/layout/chevron2"/>
    <dgm:cxn modelId="{57655432-364A-43EC-8077-84CA5B230451}" type="presParOf" srcId="{188B823B-D733-4F45-A0EC-F297BBB04A56}" destId="{36B9F357-275B-4385-92C5-FAD0414A181B}" srcOrd="9" destOrd="0" presId="urn:microsoft.com/office/officeart/2005/8/layout/chevron2"/>
    <dgm:cxn modelId="{9DCC1657-F1F4-4202-A0C1-F512C54DC3B0}" type="presParOf" srcId="{188B823B-D733-4F45-A0EC-F297BBB04A56}" destId="{467C49B5-F1DA-4DA7-9255-41210A331F06}" srcOrd="10" destOrd="0" presId="urn:microsoft.com/office/officeart/2005/8/layout/chevron2"/>
    <dgm:cxn modelId="{962D3103-0B29-4FBC-AB11-1FE8F6E0B3E1}" type="presParOf" srcId="{467C49B5-F1DA-4DA7-9255-41210A331F06}" destId="{D18D824B-590A-48F4-A3C2-1A27007B7CE5}" srcOrd="0" destOrd="0" presId="urn:microsoft.com/office/officeart/2005/8/layout/chevron2"/>
    <dgm:cxn modelId="{87F4F8AD-0CAC-4F41-A29B-76BF572C0617}" type="presParOf" srcId="{467C49B5-F1DA-4DA7-9255-41210A331F06}" destId="{CA6580DE-45BE-4D6A-9F11-7180117409B6}" srcOrd="1" destOrd="0" presId="urn:microsoft.com/office/officeart/2005/8/layout/chevron2"/>
    <dgm:cxn modelId="{3FEEB086-362C-4695-BF23-4775C4BEA371}" type="presParOf" srcId="{188B823B-D733-4F45-A0EC-F297BBB04A56}" destId="{746E06F1-6743-4BD1-9243-61DE09D61172}" srcOrd="11" destOrd="0" presId="urn:microsoft.com/office/officeart/2005/8/layout/chevron2"/>
    <dgm:cxn modelId="{B6682B87-8DBE-47E2-B745-912632C8042A}" type="presParOf" srcId="{188B823B-D733-4F45-A0EC-F297BBB04A56}" destId="{8C8E85B2-D69A-48F3-8E40-A6CF324B0A83}" srcOrd="12" destOrd="0" presId="urn:microsoft.com/office/officeart/2005/8/layout/chevron2"/>
    <dgm:cxn modelId="{BC3C997F-E655-4497-8E50-22DF6ED531D8}" type="presParOf" srcId="{8C8E85B2-D69A-48F3-8E40-A6CF324B0A83}" destId="{8EE1F83E-20FC-406B-8C37-2E86F65E8FCB}" srcOrd="0" destOrd="0" presId="urn:microsoft.com/office/officeart/2005/8/layout/chevron2"/>
    <dgm:cxn modelId="{B65D4931-990C-4682-A68A-F6878166075E}" type="presParOf" srcId="{8C8E85B2-D69A-48F3-8E40-A6CF324B0A83}" destId="{B712C99A-42AD-4C8D-906F-CF16C00F4A45}" srcOrd="1" destOrd="0" presId="urn:microsoft.com/office/officeart/2005/8/layout/chevron2"/>
    <dgm:cxn modelId="{3D4F677E-9851-4F30-91B7-18C9080F7AEF}" type="presParOf" srcId="{188B823B-D733-4F45-A0EC-F297BBB04A56}" destId="{F3AE5313-59E8-45DE-9C69-735957F84DFA}" srcOrd="13" destOrd="0" presId="urn:microsoft.com/office/officeart/2005/8/layout/chevron2"/>
    <dgm:cxn modelId="{826C3AC0-9D62-4D90-B3DE-C5BF93579FC5}" type="presParOf" srcId="{188B823B-D733-4F45-A0EC-F297BBB04A56}" destId="{A444F9F9-1BC8-495C-B635-AEE114C8D6E1}" srcOrd="14" destOrd="0" presId="urn:microsoft.com/office/officeart/2005/8/layout/chevron2"/>
    <dgm:cxn modelId="{58F0659C-F925-400C-A250-7F1934CB63F5}" type="presParOf" srcId="{A444F9F9-1BC8-495C-B635-AEE114C8D6E1}" destId="{62A51BF7-9B86-4ACF-9B24-BDAE36670251}" srcOrd="0" destOrd="0" presId="urn:microsoft.com/office/officeart/2005/8/layout/chevron2"/>
    <dgm:cxn modelId="{52B44211-1A0A-4277-ABF4-00FEF8E9E997}" type="presParOf" srcId="{A444F9F9-1BC8-495C-B635-AEE114C8D6E1}" destId="{9C8A9338-6733-414C-B2EA-3359EAB5C7AC}" srcOrd="1" destOrd="0" presId="urn:microsoft.com/office/officeart/2005/8/layout/chevron2"/>
    <dgm:cxn modelId="{002D0562-BAC5-4EF9-BA2D-FDC32F9572C1}" type="presParOf" srcId="{188B823B-D733-4F45-A0EC-F297BBB04A56}" destId="{7707DA8C-BAF9-488E-84DF-2390F13FA969}" srcOrd="15" destOrd="0" presId="urn:microsoft.com/office/officeart/2005/8/layout/chevron2"/>
    <dgm:cxn modelId="{2BD3D587-F547-4537-9FC6-757777FCF4B2}" type="presParOf" srcId="{188B823B-D733-4F45-A0EC-F297BBB04A56}" destId="{3C4C2F61-39C0-4294-8EC9-7B3CFD160CCD}" srcOrd="16" destOrd="0" presId="urn:microsoft.com/office/officeart/2005/8/layout/chevron2"/>
    <dgm:cxn modelId="{6B3829C4-1B2C-4426-B21E-546E841A65AC}" type="presParOf" srcId="{3C4C2F61-39C0-4294-8EC9-7B3CFD160CCD}" destId="{6E000F3C-1FD0-4D4C-A360-6BF84FDF5846}" srcOrd="0" destOrd="0" presId="urn:microsoft.com/office/officeart/2005/8/layout/chevron2"/>
    <dgm:cxn modelId="{74A529CC-EEF2-484F-9176-03C3F88D3EB0}" type="presParOf" srcId="{3C4C2F61-39C0-4294-8EC9-7B3CFD160CCD}" destId="{83BF6D58-7F83-48E5-A9E5-69877B3F7AA1}" srcOrd="1" destOrd="0" presId="urn:microsoft.com/office/officeart/2005/8/layout/chevron2"/>
    <dgm:cxn modelId="{D8C7FC70-C3D1-44CF-9D98-BCB228B1FE45}" type="presParOf" srcId="{188B823B-D733-4F45-A0EC-F297BBB04A56}" destId="{94B6F1CC-4C4D-4F23-965D-5B4F4C6BD002}" srcOrd="17" destOrd="0" presId="urn:microsoft.com/office/officeart/2005/8/layout/chevron2"/>
    <dgm:cxn modelId="{F9ADCA33-F9E0-4A92-821F-921B6B2A2F18}" type="presParOf" srcId="{188B823B-D733-4F45-A0EC-F297BBB04A56}" destId="{7772CAC1-0A07-4116-84F7-6E788B91D629}" srcOrd="18" destOrd="0" presId="urn:microsoft.com/office/officeart/2005/8/layout/chevron2"/>
    <dgm:cxn modelId="{8127DA31-2305-4FCC-BC55-F3044D4D8CBD}" type="presParOf" srcId="{7772CAC1-0A07-4116-84F7-6E788B91D629}" destId="{F59465BE-D65F-4814-8F5D-5663AE286D02}" srcOrd="0" destOrd="0" presId="urn:microsoft.com/office/officeart/2005/8/layout/chevron2"/>
    <dgm:cxn modelId="{51A6460A-1F5C-4D70-80F3-933ABBF0E4A7}" type="presParOf" srcId="{7772CAC1-0A07-4116-84F7-6E788B91D629}" destId="{B60635A0-2C6B-4ACB-8A9D-CE49A6847847}" srcOrd="1" destOrd="0" presId="urn:microsoft.com/office/officeart/2005/8/layout/chevron2"/>
    <dgm:cxn modelId="{CFF44EB0-2B7E-4AFA-927F-197FD254A5D9}" type="presParOf" srcId="{188B823B-D733-4F45-A0EC-F297BBB04A56}" destId="{30B3D35F-FBA4-4348-AF71-39D98F42680F}" srcOrd="19" destOrd="0" presId="urn:microsoft.com/office/officeart/2005/8/layout/chevron2"/>
    <dgm:cxn modelId="{2E740B2B-CACC-4889-BDF1-79111E017A24}" type="presParOf" srcId="{188B823B-D733-4F45-A0EC-F297BBB04A56}" destId="{E0AA486C-90C1-4952-B5A5-EA7578A1F921}" srcOrd="20" destOrd="0" presId="urn:microsoft.com/office/officeart/2005/8/layout/chevron2"/>
    <dgm:cxn modelId="{6C2B5D49-A6BF-4581-9D0D-574C8D7B93A1}" type="presParOf" srcId="{E0AA486C-90C1-4952-B5A5-EA7578A1F921}" destId="{6ACC1AE5-611F-4350-9E24-84466B45CDAF}" srcOrd="0" destOrd="0" presId="urn:microsoft.com/office/officeart/2005/8/layout/chevron2"/>
    <dgm:cxn modelId="{0883DB61-82BF-4E91-86D1-694B846B6C86}" type="presParOf" srcId="{E0AA486C-90C1-4952-B5A5-EA7578A1F921}" destId="{28979EF1-B8F7-4A99-9434-157759429AAF}" srcOrd="1" destOrd="0" presId="urn:microsoft.com/office/officeart/2005/8/layout/chevron2"/>
    <dgm:cxn modelId="{53E8E096-E218-4ECA-82BE-EE3C8160CC9F}" type="presParOf" srcId="{188B823B-D733-4F45-A0EC-F297BBB04A56}" destId="{5AFEE9AB-9401-4BD7-A44E-EA637954BB22}" srcOrd="21" destOrd="0" presId="urn:microsoft.com/office/officeart/2005/8/layout/chevron2"/>
    <dgm:cxn modelId="{575BE5A1-1763-4090-90D2-CDBD5E02C856}" type="presParOf" srcId="{188B823B-D733-4F45-A0EC-F297BBB04A56}" destId="{E95A28CD-5AC5-430D-9B0A-F1A7E3769965}" srcOrd="22" destOrd="0" presId="urn:microsoft.com/office/officeart/2005/8/layout/chevron2"/>
    <dgm:cxn modelId="{CE03624C-A3C7-421F-A288-5FB0D1D651AF}" type="presParOf" srcId="{E95A28CD-5AC5-430D-9B0A-F1A7E3769965}" destId="{F7EC3A0B-ED43-4D35-9A15-3B85FDACE4D4}" srcOrd="0" destOrd="0" presId="urn:microsoft.com/office/officeart/2005/8/layout/chevron2"/>
    <dgm:cxn modelId="{64F7B544-5C2A-4E76-83ED-E4EA02986572}" type="presParOf" srcId="{E95A28CD-5AC5-430D-9B0A-F1A7E3769965}" destId="{71C5997A-6B45-4899-9943-00542DB0CA77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BA76586-14B5-4052-BA86-2D4283C68CB9}" type="doc">
      <dgm:prSet loTypeId="urn:microsoft.com/office/officeart/2005/8/layout/orgChart1" loCatId="hierarchy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DE"/>
        </a:p>
      </dgm:t>
    </dgm:pt>
    <dgm:pt modelId="{0CB11E97-CA53-41C1-93C9-12065D7C869A}">
      <dgm:prSet phldrT="[Text]"/>
      <dgm:spPr/>
      <dgm:t>
        <a:bodyPr/>
        <a:lstStyle/>
        <a:p>
          <a:r>
            <a:rPr lang="en-US" dirty="0"/>
            <a:t>Data Engineering Toolkit</a:t>
          </a:r>
          <a:endParaRPr lang="en-DE" dirty="0"/>
        </a:p>
      </dgm:t>
    </dgm:pt>
    <dgm:pt modelId="{7B113045-19EF-421A-BBB6-ED60F45CA4EB}" type="parTrans" cxnId="{0A1ACC8D-BC76-48A9-9288-436ABA3150B1}">
      <dgm:prSet/>
      <dgm:spPr/>
      <dgm:t>
        <a:bodyPr/>
        <a:lstStyle/>
        <a:p>
          <a:endParaRPr lang="en-DE"/>
        </a:p>
      </dgm:t>
    </dgm:pt>
    <dgm:pt modelId="{9731C0E5-0577-4D3C-AA23-02F4C35983C9}" type="sibTrans" cxnId="{0A1ACC8D-BC76-48A9-9288-436ABA3150B1}">
      <dgm:prSet/>
      <dgm:spPr/>
      <dgm:t>
        <a:bodyPr/>
        <a:lstStyle/>
        <a:p>
          <a:endParaRPr lang="en-DE"/>
        </a:p>
      </dgm:t>
    </dgm:pt>
    <dgm:pt modelId="{17FD83B2-85BD-4A14-B509-57B58B08B240}">
      <dgm:prSet phldrT="[Text]"/>
      <dgm:spPr/>
      <dgm:t>
        <a:bodyPr/>
        <a:lstStyle/>
        <a:p>
          <a:r>
            <a:rPr lang="en-US"/>
            <a:t>Modules</a:t>
          </a:r>
          <a:endParaRPr lang="en-DE"/>
        </a:p>
      </dgm:t>
    </dgm:pt>
    <dgm:pt modelId="{03AA016A-B974-4C89-9E9D-DA5CD8A8A88D}" type="parTrans" cxnId="{72A0E418-A9C3-460E-9DF6-A153694B5272}">
      <dgm:prSet/>
      <dgm:spPr/>
      <dgm:t>
        <a:bodyPr/>
        <a:lstStyle/>
        <a:p>
          <a:endParaRPr lang="en-DE"/>
        </a:p>
      </dgm:t>
    </dgm:pt>
    <dgm:pt modelId="{80DF2699-2CD8-4040-BC51-8092B0CCE508}" type="sibTrans" cxnId="{72A0E418-A9C3-460E-9DF6-A153694B5272}">
      <dgm:prSet/>
      <dgm:spPr/>
      <dgm:t>
        <a:bodyPr/>
        <a:lstStyle/>
        <a:p>
          <a:endParaRPr lang="en-DE"/>
        </a:p>
      </dgm:t>
    </dgm:pt>
    <dgm:pt modelId="{2594E434-4425-425A-BBE6-A5D7F71546B9}">
      <dgm:prSet phldrT="[Text]"/>
      <dgm:spPr/>
      <dgm:t>
        <a:bodyPr/>
        <a:lstStyle/>
        <a:p>
          <a:r>
            <a:rPr lang="en-US"/>
            <a:t>Documentation</a:t>
          </a:r>
          <a:endParaRPr lang="en-DE"/>
        </a:p>
      </dgm:t>
    </dgm:pt>
    <dgm:pt modelId="{E80F4F08-0E79-419C-8CF8-3233BA7C9546}" type="parTrans" cxnId="{00A0C5B3-2AFB-44B3-BD4A-0A8B929DCD0F}">
      <dgm:prSet/>
      <dgm:spPr/>
      <dgm:t>
        <a:bodyPr/>
        <a:lstStyle/>
        <a:p>
          <a:endParaRPr lang="en-DE"/>
        </a:p>
      </dgm:t>
    </dgm:pt>
    <dgm:pt modelId="{15CCBD07-F475-41C6-B9CF-0EE8CDD93A39}" type="sibTrans" cxnId="{00A0C5B3-2AFB-44B3-BD4A-0A8B929DCD0F}">
      <dgm:prSet/>
      <dgm:spPr/>
      <dgm:t>
        <a:bodyPr/>
        <a:lstStyle/>
        <a:p>
          <a:endParaRPr lang="en-DE"/>
        </a:p>
      </dgm:t>
    </dgm:pt>
    <dgm:pt modelId="{74BF7D34-C0DF-4964-A1CC-73907904C06A}">
      <dgm:prSet phldrT="[Text]"/>
      <dgm:spPr/>
      <dgm:t>
        <a:bodyPr/>
        <a:lstStyle/>
        <a:p>
          <a:r>
            <a:rPr lang="en-US"/>
            <a:t>Tests</a:t>
          </a:r>
          <a:endParaRPr lang="en-DE"/>
        </a:p>
      </dgm:t>
    </dgm:pt>
    <dgm:pt modelId="{400DEEFB-2505-4D62-A639-4963B43E8521}" type="parTrans" cxnId="{7B37BCB3-7F29-4C01-86B6-B5DDBB4FFABF}">
      <dgm:prSet/>
      <dgm:spPr/>
      <dgm:t>
        <a:bodyPr/>
        <a:lstStyle/>
        <a:p>
          <a:endParaRPr lang="en-DE"/>
        </a:p>
      </dgm:t>
    </dgm:pt>
    <dgm:pt modelId="{5AE191EE-DD4E-4FFD-96E5-3D16027F96CA}" type="sibTrans" cxnId="{7B37BCB3-7F29-4C01-86B6-B5DDBB4FFABF}">
      <dgm:prSet/>
      <dgm:spPr/>
      <dgm:t>
        <a:bodyPr/>
        <a:lstStyle/>
        <a:p>
          <a:endParaRPr lang="en-DE"/>
        </a:p>
      </dgm:t>
    </dgm:pt>
    <dgm:pt modelId="{1EE4E177-A5E0-4B8D-8B49-B50C5A74AF1F}">
      <dgm:prSet phldrT="[Text]"/>
      <dgm:spPr/>
      <dgm:t>
        <a:bodyPr/>
        <a:lstStyle/>
        <a:p>
          <a:r>
            <a:rPr lang="en-US" dirty="0"/>
            <a:t>Reports</a:t>
          </a:r>
          <a:endParaRPr lang="en-DE" dirty="0"/>
        </a:p>
      </dgm:t>
    </dgm:pt>
    <dgm:pt modelId="{6DD2DAF1-0DBD-466F-9262-822CA04D6870}" type="parTrans" cxnId="{FD971D16-DACD-4D10-9761-698709DFA850}">
      <dgm:prSet/>
      <dgm:spPr/>
      <dgm:t>
        <a:bodyPr/>
        <a:lstStyle/>
        <a:p>
          <a:endParaRPr lang="en-DE"/>
        </a:p>
      </dgm:t>
    </dgm:pt>
    <dgm:pt modelId="{3359CD8D-4451-4EF2-BF43-775721FF0B21}" type="sibTrans" cxnId="{FD971D16-DACD-4D10-9761-698709DFA850}">
      <dgm:prSet/>
      <dgm:spPr/>
      <dgm:t>
        <a:bodyPr/>
        <a:lstStyle/>
        <a:p>
          <a:endParaRPr lang="en-DE"/>
        </a:p>
      </dgm:t>
    </dgm:pt>
    <dgm:pt modelId="{D850F29F-63FF-4B47-A13B-31CD821C09DF}" type="pres">
      <dgm:prSet presAssocID="{CBA76586-14B5-4052-BA86-2D4283C68CB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931ED9C2-0CD8-4225-8BFA-F99B9BE2D330}" type="pres">
      <dgm:prSet presAssocID="{0CB11E97-CA53-41C1-93C9-12065D7C869A}" presName="hierRoot1" presStyleCnt="0">
        <dgm:presLayoutVars>
          <dgm:hierBranch val="init"/>
        </dgm:presLayoutVars>
      </dgm:prSet>
      <dgm:spPr/>
    </dgm:pt>
    <dgm:pt modelId="{3E2E4098-732D-47EA-812A-93ABFE8268A8}" type="pres">
      <dgm:prSet presAssocID="{0CB11E97-CA53-41C1-93C9-12065D7C869A}" presName="rootComposite1" presStyleCnt="0"/>
      <dgm:spPr/>
    </dgm:pt>
    <dgm:pt modelId="{63EA47F9-E0DE-4F68-8245-7A90F3E28E30}" type="pres">
      <dgm:prSet presAssocID="{0CB11E97-CA53-41C1-93C9-12065D7C869A}" presName="rootText1" presStyleLbl="node0" presStyleIdx="0" presStyleCnt="1">
        <dgm:presLayoutVars>
          <dgm:chPref val="3"/>
        </dgm:presLayoutVars>
      </dgm:prSet>
      <dgm:spPr/>
    </dgm:pt>
    <dgm:pt modelId="{333785BD-DB93-40B7-964E-943D3E5818F0}" type="pres">
      <dgm:prSet presAssocID="{0CB11E97-CA53-41C1-93C9-12065D7C869A}" presName="rootConnector1" presStyleLbl="node1" presStyleIdx="0" presStyleCnt="0"/>
      <dgm:spPr/>
    </dgm:pt>
    <dgm:pt modelId="{F6287813-5329-4A5B-9AEB-19F50370EAB5}" type="pres">
      <dgm:prSet presAssocID="{0CB11E97-CA53-41C1-93C9-12065D7C869A}" presName="hierChild2" presStyleCnt="0"/>
      <dgm:spPr/>
    </dgm:pt>
    <dgm:pt modelId="{A1A50457-BB1C-4584-AA4A-306D3E586458}" type="pres">
      <dgm:prSet presAssocID="{03AA016A-B974-4C89-9E9D-DA5CD8A8A88D}" presName="Name37" presStyleLbl="parChTrans1D2" presStyleIdx="0" presStyleCnt="4"/>
      <dgm:spPr/>
    </dgm:pt>
    <dgm:pt modelId="{DF793031-92BB-4641-925F-903C2D38B778}" type="pres">
      <dgm:prSet presAssocID="{17FD83B2-85BD-4A14-B509-57B58B08B240}" presName="hierRoot2" presStyleCnt="0">
        <dgm:presLayoutVars>
          <dgm:hierBranch val="init"/>
        </dgm:presLayoutVars>
      </dgm:prSet>
      <dgm:spPr/>
    </dgm:pt>
    <dgm:pt modelId="{E164B8FE-BCA0-464D-887C-8ABAE43A46F2}" type="pres">
      <dgm:prSet presAssocID="{17FD83B2-85BD-4A14-B509-57B58B08B240}" presName="rootComposite" presStyleCnt="0"/>
      <dgm:spPr/>
    </dgm:pt>
    <dgm:pt modelId="{70089BE4-5588-4A06-BAF2-B8F8D34F8299}" type="pres">
      <dgm:prSet presAssocID="{17FD83B2-85BD-4A14-B509-57B58B08B240}" presName="rootText" presStyleLbl="node2" presStyleIdx="0" presStyleCnt="4">
        <dgm:presLayoutVars>
          <dgm:chPref val="3"/>
        </dgm:presLayoutVars>
      </dgm:prSet>
      <dgm:spPr/>
    </dgm:pt>
    <dgm:pt modelId="{BF7F96D6-1548-4EF7-B9A3-979EC3B21392}" type="pres">
      <dgm:prSet presAssocID="{17FD83B2-85BD-4A14-B509-57B58B08B240}" presName="rootConnector" presStyleLbl="node2" presStyleIdx="0" presStyleCnt="4"/>
      <dgm:spPr/>
    </dgm:pt>
    <dgm:pt modelId="{B5F2285D-8A9C-4CF3-91D1-5944D91AA849}" type="pres">
      <dgm:prSet presAssocID="{17FD83B2-85BD-4A14-B509-57B58B08B240}" presName="hierChild4" presStyleCnt="0"/>
      <dgm:spPr/>
    </dgm:pt>
    <dgm:pt modelId="{AE7842A9-E85D-4EF3-8E38-4EEE9E05512F}" type="pres">
      <dgm:prSet presAssocID="{17FD83B2-85BD-4A14-B509-57B58B08B240}" presName="hierChild5" presStyleCnt="0"/>
      <dgm:spPr/>
    </dgm:pt>
    <dgm:pt modelId="{C2965F85-1163-4BD0-A9B4-8E8D442DEBF5}" type="pres">
      <dgm:prSet presAssocID="{E80F4F08-0E79-419C-8CF8-3233BA7C9546}" presName="Name37" presStyleLbl="parChTrans1D2" presStyleIdx="1" presStyleCnt="4"/>
      <dgm:spPr/>
    </dgm:pt>
    <dgm:pt modelId="{300C7B04-6ACE-4569-9C40-62B635BB2BCC}" type="pres">
      <dgm:prSet presAssocID="{2594E434-4425-425A-BBE6-A5D7F71546B9}" presName="hierRoot2" presStyleCnt="0">
        <dgm:presLayoutVars>
          <dgm:hierBranch val="init"/>
        </dgm:presLayoutVars>
      </dgm:prSet>
      <dgm:spPr/>
    </dgm:pt>
    <dgm:pt modelId="{97CA6A46-9A73-46A7-AD3A-C0180F788990}" type="pres">
      <dgm:prSet presAssocID="{2594E434-4425-425A-BBE6-A5D7F71546B9}" presName="rootComposite" presStyleCnt="0"/>
      <dgm:spPr/>
    </dgm:pt>
    <dgm:pt modelId="{DC0688EE-60FD-447D-AB95-8CFA3998BA3C}" type="pres">
      <dgm:prSet presAssocID="{2594E434-4425-425A-BBE6-A5D7F71546B9}" presName="rootText" presStyleLbl="node2" presStyleIdx="1" presStyleCnt="4">
        <dgm:presLayoutVars>
          <dgm:chPref val="3"/>
        </dgm:presLayoutVars>
      </dgm:prSet>
      <dgm:spPr/>
    </dgm:pt>
    <dgm:pt modelId="{39814FA4-B724-4373-8EC3-C23994E26F42}" type="pres">
      <dgm:prSet presAssocID="{2594E434-4425-425A-BBE6-A5D7F71546B9}" presName="rootConnector" presStyleLbl="node2" presStyleIdx="1" presStyleCnt="4"/>
      <dgm:spPr/>
    </dgm:pt>
    <dgm:pt modelId="{085D4D49-42F5-4586-B10B-0C026AD12C31}" type="pres">
      <dgm:prSet presAssocID="{2594E434-4425-425A-BBE6-A5D7F71546B9}" presName="hierChild4" presStyleCnt="0"/>
      <dgm:spPr/>
    </dgm:pt>
    <dgm:pt modelId="{8705EBB4-A054-4963-A847-3E10F001B392}" type="pres">
      <dgm:prSet presAssocID="{2594E434-4425-425A-BBE6-A5D7F71546B9}" presName="hierChild5" presStyleCnt="0"/>
      <dgm:spPr/>
    </dgm:pt>
    <dgm:pt modelId="{3E7B07B4-FED0-4861-98E4-E79DE6E682C7}" type="pres">
      <dgm:prSet presAssocID="{400DEEFB-2505-4D62-A639-4963B43E8521}" presName="Name37" presStyleLbl="parChTrans1D2" presStyleIdx="2" presStyleCnt="4"/>
      <dgm:spPr/>
    </dgm:pt>
    <dgm:pt modelId="{B015DC97-ECDA-4720-93A7-6D01B0EB4725}" type="pres">
      <dgm:prSet presAssocID="{74BF7D34-C0DF-4964-A1CC-73907904C06A}" presName="hierRoot2" presStyleCnt="0">
        <dgm:presLayoutVars>
          <dgm:hierBranch val="init"/>
        </dgm:presLayoutVars>
      </dgm:prSet>
      <dgm:spPr/>
    </dgm:pt>
    <dgm:pt modelId="{2359B6F3-B434-4398-9AAE-2C1F3981FF4C}" type="pres">
      <dgm:prSet presAssocID="{74BF7D34-C0DF-4964-A1CC-73907904C06A}" presName="rootComposite" presStyleCnt="0"/>
      <dgm:spPr/>
    </dgm:pt>
    <dgm:pt modelId="{8991C403-B8EE-4557-933E-66EC0DA33BDB}" type="pres">
      <dgm:prSet presAssocID="{74BF7D34-C0DF-4964-A1CC-73907904C06A}" presName="rootText" presStyleLbl="node2" presStyleIdx="2" presStyleCnt="4">
        <dgm:presLayoutVars>
          <dgm:chPref val="3"/>
        </dgm:presLayoutVars>
      </dgm:prSet>
      <dgm:spPr/>
    </dgm:pt>
    <dgm:pt modelId="{2EE9DBB6-9E4F-441F-9634-ACE9202CCF69}" type="pres">
      <dgm:prSet presAssocID="{74BF7D34-C0DF-4964-A1CC-73907904C06A}" presName="rootConnector" presStyleLbl="node2" presStyleIdx="2" presStyleCnt="4"/>
      <dgm:spPr/>
    </dgm:pt>
    <dgm:pt modelId="{6AD03408-D019-43A3-8C2E-6A7ABCEFE8BC}" type="pres">
      <dgm:prSet presAssocID="{74BF7D34-C0DF-4964-A1CC-73907904C06A}" presName="hierChild4" presStyleCnt="0"/>
      <dgm:spPr/>
    </dgm:pt>
    <dgm:pt modelId="{63DF9100-4113-4A2F-AA8E-03CD6F13B346}" type="pres">
      <dgm:prSet presAssocID="{74BF7D34-C0DF-4964-A1CC-73907904C06A}" presName="hierChild5" presStyleCnt="0"/>
      <dgm:spPr/>
    </dgm:pt>
    <dgm:pt modelId="{95C73B2A-1DDE-4BEA-B61C-A9E1A346FE96}" type="pres">
      <dgm:prSet presAssocID="{6DD2DAF1-0DBD-466F-9262-822CA04D6870}" presName="Name37" presStyleLbl="parChTrans1D2" presStyleIdx="3" presStyleCnt="4"/>
      <dgm:spPr/>
    </dgm:pt>
    <dgm:pt modelId="{0319C346-1FD4-4A91-BF7D-062A3E403EA3}" type="pres">
      <dgm:prSet presAssocID="{1EE4E177-A5E0-4B8D-8B49-B50C5A74AF1F}" presName="hierRoot2" presStyleCnt="0">
        <dgm:presLayoutVars>
          <dgm:hierBranch val="init"/>
        </dgm:presLayoutVars>
      </dgm:prSet>
      <dgm:spPr/>
    </dgm:pt>
    <dgm:pt modelId="{E945158C-9047-4BAC-8CCE-60EDE4BA685A}" type="pres">
      <dgm:prSet presAssocID="{1EE4E177-A5E0-4B8D-8B49-B50C5A74AF1F}" presName="rootComposite" presStyleCnt="0"/>
      <dgm:spPr/>
    </dgm:pt>
    <dgm:pt modelId="{63AB60EC-C9AE-444E-998A-94B0362E5CC4}" type="pres">
      <dgm:prSet presAssocID="{1EE4E177-A5E0-4B8D-8B49-B50C5A74AF1F}" presName="rootText" presStyleLbl="node2" presStyleIdx="3" presStyleCnt="4">
        <dgm:presLayoutVars>
          <dgm:chPref val="3"/>
        </dgm:presLayoutVars>
      </dgm:prSet>
      <dgm:spPr/>
    </dgm:pt>
    <dgm:pt modelId="{EB1B2024-5847-4F0B-969F-A71945CFFBB1}" type="pres">
      <dgm:prSet presAssocID="{1EE4E177-A5E0-4B8D-8B49-B50C5A74AF1F}" presName="rootConnector" presStyleLbl="node2" presStyleIdx="3" presStyleCnt="4"/>
      <dgm:spPr/>
    </dgm:pt>
    <dgm:pt modelId="{26ABBF6C-4B4D-47E8-99E6-386839B2AEDD}" type="pres">
      <dgm:prSet presAssocID="{1EE4E177-A5E0-4B8D-8B49-B50C5A74AF1F}" presName="hierChild4" presStyleCnt="0"/>
      <dgm:spPr/>
    </dgm:pt>
    <dgm:pt modelId="{E7E0AF57-B710-4B4A-AECE-D3CB43051D21}" type="pres">
      <dgm:prSet presAssocID="{1EE4E177-A5E0-4B8D-8B49-B50C5A74AF1F}" presName="hierChild5" presStyleCnt="0"/>
      <dgm:spPr/>
    </dgm:pt>
    <dgm:pt modelId="{C316DD3F-A745-4721-8B2C-7A179614327B}" type="pres">
      <dgm:prSet presAssocID="{0CB11E97-CA53-41C1-93C9-12065D7C869A}" presName="hierChild3" presStyleCnt="0"/>
      <dgm:spPr/>
    </dgm:pt>
  </dgm:ptLst>
  <dgm:cxnLst>
    <dgm:cxn modelId="{E8CA7104-1FDF-429E-9410-7A78EA33FB2C}" type="presOf" srcId="{74BF7D34-C0DF-4964-A1CC-73907904C06A}" destId="{2EE9DBB6-9E4F-441F-9634-ACE9202CCF69}" srcOrd="1" destOrd="0" presId="urn:microsoft.com/office/officeart/2005/8/layout/orgChart1"/>
    <dgm:cxn modelId="{FD971D16-DACD-4D10-9761-698709DFA850}" srcId="{0CB11E97-CA53-41C1-93C9-12065D7C869A}" destId="{1EE4E177-A5E0-4B8D-8B49-B50C5A74AF1F}" srcOrd="3" destOrd="0" parTransId="{6DD2DAF1-0DBD-466F-9262-822CA04D6870}" sibTransId="{3359CD8D-4451-4EF2-BF43-775721FF0B21}"/>
    <dgm:cxn modelId="{72A0E418-A9C3-460E-9DF6-A153694B5272}" srcId="{0CB11E97-CA53-41C1-93C9-12065D7C869A}" destId="{17FD83B2-85BD-4A14-B509-57B58B08B240}" srcOrd="0" destOrd="0" parTransId="{03AA016A-B974-4C89-9E9D-DA5CD8A8A88D}" sibTransId="{80DF2699-2CD8-4040-BC51-8092B0CCE508}"/>
    <dgm:cxn modelId="{C8AD791A-A015-4FAA-86ED-553DAA598AFA}" type="presOf" srcId="{1EE4E177-A5E0-4B8D-8B49-B50C5A74AF1F}" destId="{EB1B2024-5847-4F0B-969F-A71945CFFBB1}" srcOrd="1" destOrd="0" presId="urn:microsoft.com/office/officeart/2005/8/layout/orgChart1"/>
    <dgm:cxn modelId="{B8F7453A-3593-42FD-ACDA-D80DA758A98C}" type="presOf" srcId="{0CB11E97-CA53-41C1-93C9-12065D7C869A}" destId="{63EA47F9-E0DE-4F68-8245-7A90F3E28E30}" srcOrd="0" destOrd="0" presId="urn:microsoft.com/office/officeart/2005/8/layout/orgChart1"/>
    <dgm:cxn modelId="{018D025E-F791-42F7-9581-3D05499A8302}" type="presOf" srcId="{400DEEFB-2505-4D62-A639-4963B43E8521}" destId="{3E7B07B4-FED0-4861-98E4-E79DE6E682C7}" srcOrd="0" destOrd="0" presId="urn:microsoft.com/office/officeart/2005/8/layout/orgChart1"/>
    <dgm:cxn modelId="{EA14A143-CA15-4B9B-9F25-CE39B4E11193}" type="presOf" srcId="{2594E434-4425-425A-BBE6-A5D7F71546B9}" destId="{39814FA4-B724-4373-8EC3-C23994E26F42}" srcOrd="1" destOrd="0" presId="urn:microsoft.com/office/officeart/2005/8/layout/orgChart1"/>
    <dgm:cxn modelId="{6D72BA67-A299-4CFA-8BED-997672D9818F}" type="presOf" srcId="{1EE4E177-A5E0-4B8D-8B49-B50C5A74AF1F}" destId="{63AB60EC-C9AE-444E-998A-94B0362E5CC4}" srcOrd="0" destOrd="0" presId="urn:microsoft.com/office/officeart/2005/8/layout/orgChart1"/>
    <dgm:cxn modelId="{7C0B3854-5E4A-4165-A48F-318460C49C15}" type="presOf" srcId="{17FD83B2-85BD-4A14-B509-57B58B08B240}" destId="{70089BE4-5588-4A06-BAF2-B8F8D34F8299}" srcOrd="0" destOrd="0" presId="urn:microsoft.com/office/officeart/2005/8/layout/orgChart1"/>
    <dgm:cxn modelId="{93851E86-4346-4FE6-9D9E-69916865B0C8}" type="presOf" srcId="{03AA016A-B974-4C89-9E9D-DA5CD8A8A88D}" destId="{A1A50457-BB1C-4584-AA4A-306D3E586458}" srcOrd="0" destOrd="0" presId="urn:microsoft.com/office/officeart/2005/8/layout/orgChart1"/>
    <dgm:cxn modelId="{F7AF818D-E927-4764-9FE0-2824F0E8E9A9}" type="presOf" srcId="{74BF7D34-C0DF-4964-A1CC-73907904C06A}" destId="{8991C403-B8EE-4557-933E-66EC0DA33BDB}" srcOrd="0" destOrd="0" presId="urn:microsoft.com/office/officeart/2005/8/layout/orgChart1"/>
    <dgm:cxn modelId="{0A1ACC8D-BC76-48A9-9288-436ABA3150B1}" srcId="{CBA76586-14B5-4052-BA86-2D4283C68CB9}" destId="{0CB11E97-CA53-41C1-93C9-12065D7C869A}" srcOrd="0" destOrd="0" parTransId="{7B113045-19EF-421A-BBB6-ED60F45CA4EB}" sibTransId="{9731C0E5-0577-4D3C-AA23-02F4C35983C9}"/>
    <dgm:cxn modelId="{75419D95-E762-47AB-9D46-08EED923B21E}" type="presOf" srcId="{E80F4F08-0E79-419C-8CF8-3233BA7C9546}" destId="{C2965F85-1163-4BD0-A9B4-8E8D442DEBF5}" srcOrd="0" destOrd="0" presId="urn:microsoft.com/office/officeart/2005/8/layout/orgChart1"/>
    <dgm:cxn modelId="{E1E27AA0-7631-48C8-94F9-BA30864206EE}" type="presOf" srcId="{17FD83B2-85BD-4A14-B509-57B58B08B240}" destId="{BF7F96D6-1548-4EF7-B9A3-979EC3B21392}" srcOrd="1" destOrd="0" presId="urn:microsoft.com/office/officeart/2005/8/layout/orgChart1"/>
    <dgm:cxn modelId="{7B37BCB3-7F29-4C01-86B6-B5DDBB4FFABF}" srcId="{0CB11E97-CA53-41C1-93C9-12065D7C869A}" destId="{74BF7D34-C0DF-4964-A1CC-73907904C06A}" srcOrd="2" destOrd="0" parTransId="{400DEEFB-2505-4D62-A639-4963B43E8521}" sibTransId="{5AE191EE-DD4E-4FFD-96E5-3D16027F96CA}"/>
    <dgm:cxn modelId="{00A0C5B3-2AFB-44B3-BD4A-0A8B929DCD0F}" srcId="{0CB11E97-CA53-41C1-93C9-12065D7C869A}" destId="{2594E434-4425-425A-BBE6-A5D7F71546B9}" srcOrd="1" destOrd="0" parTransId="{E80F4F08-0E79-419C-8CF8-3233BA7C9546}" sibTransId="{15CCBD07-F475-41C6-B9CF-0EE8CDD93A39}"/>
    <dgm:cxn modelId="{F97DC7BA-0152-4814-A92E-7BA1E73519EC}" type="presOf" srcId="{2594E434-4425-425A-BBE6-A5D7F71546B9}" destId="{DC0688EE-60FD-447D-AB95-8CFA3998BA3C}" srcOrd="0" destOrd="0" presId="urn:microsoft.com/office/officeart/2005/8/layout/orgChart1"/>
    <dgm:cxn modelId="{4D2DE4C9-E2A6-48FB-9F8E-CA1D0ABF776B}" type="presOf" srcId="{6DD2DAF1-0DBD-466F-9262-822CA04D6870}" destId="{95C73B2A-1DDE-4BEA-B61C-A9E1A346FE96}" srcOrd="0" destOrd="0" presId="urn:microsoft.com/office/officeart/2005/8/layout/orgChart1"/>
    <dgm:cxn modelId="{833EABCE-69B3-4316-A88C-01FF1B8D436C}" type="presOf" srcId="{0CB11E97-CA53-41C1-93C9-12065D7C869A}" destId="{333785BD-DB93-40B7-964E-943D3E5818F0}" srcOrd="1" destOrd="0" presId="urn:microsoft.com/office/officeart/2005/8/layout/orgChart1"/>
    <dgm:cxn modelId="{DE3E3BEE-0CBA-4B2C-8F0E-ABBD28A95883}" type="presOf" srcId="{CBA76586-14B5-4052-BA86-2D4283C68CB9}" destId="{D850F29F-63FF-4B47-A13B-31CD821C09DF}" srcOrd="0" destOrd="0" presId="urn:microsoft.com/office/officeart/2005/8/layout/orgChart1"/>
    <dgm:cxn modelId="{4B9553BE-BE01-4665-B26B-2A00BA80717F}" type="presParOf" srcId="{D850F29F-63FF-4B47-A13B-31CD821C09DF}" destId="{931ED9C2-0CD8-4225-8BFA-F99B9BE2D330}" srcOrd="0" destOrd="0" presId="urn:microsoft.com/office/officeart/2005/8/layout/orgChart1"/>
    <dgm:cxn modelId="{C9C6C132-83F9-4F11-AE55-5835B63AF658}" type="presParOf" srcId="{931ED9C2-0CD8-4225-8BFA-F99B9BE2D330}" destId="{3E2E4098-732D-47EA-812A-93ABFE8268A8}" srcOrd="0" destOrd="0" presId="urn:microsoft.com/office/officeart/2005/8/layout/orgChart1"/>
    <dgm:cxn modelId="{946BD1FB-A0FA-42DF-8C85-CCE902AC6B77}" type="presParOf" srcId="{3E2E4098-732D-47EA-812A-93ABFE8268A8}" destId="{63EA47F9-E0DE-4F68-8245-7A90F3E28E30}" srcOrd="0" destOrd="0" presId="urn:microsoft.com/office/officeart/2005/8/layout/orgChart1"/>
    <dgm:cxn modelId="{FFCDBAA4-EAC4-490A-9BBF-C36C5333C473}" type="presParOf" srcId="{3E2E4098-732D-47EA-812A-93ABFE8268A8}" destId="{333785BD-DB93-40B7-964E-943D3E5818F0}" srcOrd="1" destOrd="0" presId="urn:microsoft.com/office/officeart/2005/8/layout/orgChart1"/>
    <dgm:cxn modelId="{0E17C199-944D-4CA4-A5A8-9C9593DF4A07}" type="presParOf" srcId="{931ED9C2-0CD8-4225-8BFA-F99B9BE2D330}" destId="{F6287813-5329-4A5B-9AEB-19F50370EAB5}" srcOrd="1" destOrd="0" presId="urn:microsoft.com/office/officeart/2005/8/layout/orgChart1"/>
    <dgm:cxn modelId="{867D7EDC-62BB-40BA-B981-7C18D77DA5B2}" type="presParOf" srcId="{F6287813-5329-4A5B-9AEB-19F50370EAB5}" destId="{A1A50457-BB1C-4584-AA4A-306D3E586458}" srcOrd="0" destOrd="0" presId="urn:microsoft.com/office/officeart/2005/8/layout/orgChart1"/>
    <dgm:cxn modelId="{9084C4B1-16FA-48A1-B146-F8503E2AA161}" type="presParOf" srcId="{F6287813-5329-4A5B-9AEB-19F50370EAB5}" destId="{DF793031-92BB-4641-925F-903C2D38B778}" srcOrd="1" destOrd="0" presId="urn:microsoft.com/office/officeart/2005/8/layout/orgChart1"/>
    <dgm:cxn modelId="{FB352D9E-47E6-4E7B-A9E4-1D6C874C9E63}" type="presParOf" srcId="{DF793031-92BB-4641-925F-903C2D38B778}" destId="{E164B8FE-BCA0-464D-887C-8ABAE43A46F2}" srcOrd="0" destOrd="0" presId="urn:microsoft.com/office/officeart/2005/8/layout/orgChart1"/>
    <dgm:cxn modelId="{86C9CDFE-8115-478E-B24B-D47137162211}" type="presParOf" srcId="{E164B8FE-BCA0-464D-887C-8ABAE43A46F2}" destId="{70089BE4-5588-4A06-BAF2-B8F8D34F8299}" srcOrd="0" destOrd="0" presId="urn:microsoft.com/office/officeart/2005/8/layout/orgChart1"/>
    <dgm:cxn modelId="{1D5DBEE8-B3C2-415C-81BB-C6A1F6E9117F}" type="presParOf" srcId="{E164B8FE-BCA0-464D-887C-8ABAE43A46F2}" destId="{BF7F96D6-1548-4EF7-B9A3-979EC3B21392}" srcOrd="1" destOrd="0" presId="urn:microsoft.com/office/officeart/2005/8/layout/orgChart1"/>
    <dgm:cxn modelId="{1521B642-0F8F-47D9-881B-11BF6A8BFCA2}" type="presParOf" srcId="{DF793031-92BB-4641-925F-903C2D38B778}" destId="{B5F2285D-8A9C-4CF3-91D1-5944D91AA849}" srcOrd="1" destOrd="0" presId="urn:microsoft.com/office/officeart/2005/8/layout/orgChart1"/>
    <dgm:cxn modelId="{FC25F798-FF85-46FF-A96B-692A5D43F829}" type="presParOf" srcId="{DF793031-92BB-4641-925F-903C2D38B778}" destId="{AE7842A9-E85D-4EF3-8E38-4EEE9E05512F}" srcOrd="2" destOrd="0" presId="urn:microsoft.com/office/officeart/2005/8/layout/orgChart1"/>
    <dgm:cxn modelId="{FAF5716F-40F4-4C1D-9CC2-B1CEE61FC988}" type="presParOf" srcId="{F6287813-5329-4A5B-9AEB-19F50370EAB5}" destId="{C2965F85-1163-4BD0-A9B4-8E8D442DEBF5}" srcOrd="2" destOrd="0" presId="urn:microsoft.com/office/officeart/2005/8/layout/orgChart1"/>
    <dgm:cxn modelId="{CBB87616-1D0D-40BD-843D-3146A33AAD7F}" type="presParOf" srcId="{F6287813-5329-4A5B-9AEB-19F50370EAB5}" destId="{300C7B04-6ACE-4569-9C40-62B635BB2BCC}" srcOrd="3" destOrd="0" presId="urn:microsoft.com/office/officeart/2005/8/layout/orgChart1"/>
    <dgm:cxn modelId="{06B5D3B3-DC8A-423A-81B3-8F2269AD8882}" type="presParOf" srcId="{300C7B04-6ACE-4569-9C40-62B635BB2BCC}" destId="{97CA6A46-9A73-46A7-AD3A-C0180F788990}" srcOrd="0" destOrd="0" presId="urn:microsoft.com/office/officeart/2005/8/layout/orgChart1"/>
    <dgm:cxn modelId="{A1B6D0F4-AE10-4ACC-9FDD-9F2742E34164}" type="presParOf" srcId="{97CA6A46-9A73-46A7-AD3A-C0180F788990}" destId="{DC0688EE-60FD-447D-AB95-8CFA3998BA3C}" srcOrd="0" destOrd="0" presId="urn:microsoft.com/office/officeart/2005/8/layout/orgChart1"/>
    <dgm:cxn modelId="{69DF72AB-5CD4-4ADB-9AA8-9F2F2452DAD3}" type="presParOf" srcId="{97CA6A46-9A73-46A7-AD3A-C0180F788990}" destId="{39814FA4-B724-4373-8EC3-C23994E26F42}" srcOrd="1" destOrd="0" presId="urn:microsoft.com/office/officeart/2005/8/layout/orgChart1"/>
    <dgm:cxn modelId="{EC86B597-6753-4813-82BB-5235CFB0E724}" type="presParOf" srcId="{300C7B04-6ACE-4569-9C40-62B635BB2BCC}" destId="{085D4D49-42F5-4586-B10B-0C026AD12C31}" srcOrd="1" destOrd="0" presId="urn:microsoft.com/office/officeart/2005/8/layout/orgChart1"/>
    <dgm:cxn modelId="{3C8791CB-6243-4554-A70D-27856410FE7E}" type="presParOf" srcId="{300C7B04-6ACE-4569-9C40-62B635BB2BCC}" destId="{8705EBB4-A054-4963-A847-3E10F001B392}" srcOrd="2" destOrd="0" presId="urn:microsoft.com/office/officeart/2005/8/layout/orgChart1"/>
    <dgm:cxn modelId="{5D7A705C-D4E2-42CF-9D31-7A3CD92E487A}" type="presParOf" srcId="{F6287813-5329-4A5B-9AEB-19F50370EAB5}" destId="{3E7B07B4-FED0-4861-98E4-E79DE6E682C7}" srcOrd="4" destOrd="0" presId="urn:microsoft.com/office/officeart/2005/8/layout/orgChart1"/>
    <dgm:cxn modelId="{046641D6-30CA-425E-BB0E-5EB45337F7EA}" type="presParOf" srcId="{F6287813-5329-4A5B-9AEB-19F50370EAB5}" destId="{B015DC97-ECDA-4720-93A7-6D01B0EB4725}" srcOrd="5" destOrd="0" presId="urn:microsoft.com/office/officeart/2005/8/layout/orgChart1"/>
    <dgm:cxn modelId="{A900CE11-B2BB-453E-978C-428E1040314B}" type="presParOf" srcId="{B015DC97-ECDA-4720-93A7-6D01B0EB4725}" destId="{2359B6F3-B434-4398-9AAE-2C1F3981FF4C}" srcOrd="0" destOrd="0" presId="urn:microsoft.com/office/officeart/2005/8/layout/orgChart1"/>
    <dgm:cxn modelId="{0C90DF7A-4CD8-4DE5-B990-8BEC15091EF6}" type="presParOf" srcId="{2359B6F3-B434-4398-9AAE-2C1F3981FF4C}" destId="{8991C403-B8EE-4557-933E-66EC0DA33BDB}" srcOrd="0" destOrd="0" presId="urn:microsoft.com/office/officeart/2005/8/layout/orgChart1"/>
    <dgm:cxn modelId="{7BABF28B-996B-40A3-A58F-B8ADE7B5839D}" type="presParOf" srcId="{2359B6F3-B434-4398-9AAE-2C1F3981FF4C}" destId="{2EE9DBB6-9E4F-441F-9634-ACE9202CCF69}" srcOrd="1" destOrd="0" presId="urn:microsoft.com/office/officeart/2005/8/layout/orgChart1"/>
    <dgm:cxn modelId="{042BF956-9740-4846-945C-3E9AA458C076}" type="presParOf" srcId="{B015DC97-ECDA-4720-93A7-6D01B0EB4725}" destId="{6AD03408-D019-43A3-8C2E-6A7ABCEFE8BC}" srcOrd="1" destOrd="0" presId="urn:microsoft.com/office/officeart/2005/8/layout/orgChart1"/>
    <dgm:cxn modelId="{BE82D1F1-A585-4CE8-98EC-EC5FC142B0B4}" type="presParOf" srcId="{B015DC97-ECDA-4720-93A7-6D01B0EB4725}" destId="{63DF9100-4113-4A2F-AA8E-03CD6F13B346}" srcOrd="2" destOrd="0" presId="urn:microsoft.com/office/officeart/2005/8/layout/orgChart1"/>
    <dgm:cxn modelId="{9E4629E0-A5A1-41BA-A5F6-4BAD911EA81E}" type="presParOf" srcId="{F6287813-5329-4A5B-9AEB-19F50370EAB5}" destId="{95C73B2A-1DDE-4BEA-B61C-A9E1A346FE96}" srcOrd="6" destOrd="0" presId="urn:microsoft.com/office/officeart/2005/8/layout/orgChart1"/>
    <dgm:cxn modelId="{4D2EA62E-8F1B-4333-8424-A9FB00E5B424}" type="presParOf" srcId="{F6287813-5329-4A5B-9AEB-19F50370EAB5}" destId="{0319C346-1FD4-4A91-BF7D-062A3E403EA3}" srcOrd="7" destOrd="0" presId="urn:microsoft.com/office/officeart/2005/8/layout/orgChart1"/>
    <dgm:cxn modelId="{4E0355CE-4910-4717-BF1C-0739FC43A3B4}" type="presParOf" srcId="{0319C346-1FD4-4A91-BF7D-062A3E403EA3}" destId="{E945158C-9047-4BAC-8CCE-60EDE4BA685A}" srcOrd="0" destOrd="0" presId="urn:microsoft.com/office/officeart/2005/8/layout/orgChart1"/>
    <dgm:cxn modelId="{AF38ED52-DE6B-41BC-8DC8-3444C5678BDA}" type="presParOf" srcId="{E945158C-9047-4BAC-8CCE-60EDE4BA685A}" destId="{63AB60EC-C9AE-444E-998A-94B0362E5CC4}" srcOrd="0" destOrd="0" presId="urn:microsoft.com/office/officeart/2005/8/layout/orgChart1"/>
    <dgm:cxn modelId="{8D9966A0-6DDF-4FA3-9CAD-014B222C12A4}" type="presParOf" srcId="{E945158C-9047-4BAC-8CCE-60EDE4BA685A}" destId="{EB1B2024-5847-4F0B-969F-A71945CFFBB1}" srcOrd="1" destOrd="0" presId="urn:microsoft.com/office/officeart/2005/8/layout/orgChart1"/>
    <dgm:cxn modelId="{4A875DAC-4F41-4197-8A3D-C4C455AFD828}" type="presParOf" srcId="{0319C346-1FD4-4A91-BF7D-062A3E403EA3}" destId="{26ABBF6C-4B4D-47E8-99E6-386839B2AEDD}" srcOrd="1" destOrd="0" presId="urn:microsoft.com/office/officeart/2005/8/layout/orgChart1"/>
    <dgm:cxn modelId="{235B14FF-C48E-4D77-B9EF-ACDC8A30B5D8}" type="presParOf" srcId="{0319C346-1FD4-4A91-BF7D-062A3E403EA3}" destId="{E7E0AF57-B710-4B4A-AECE-D3CB43051D21}" srcOrd="2" destOrd="0" presId="urn:microsoft.com/office/officeart/2005/8/layout/orgChart1"/>
    <dgm:cxn modelId="{7E3EF631-9F56-40BD-A2EA-02AE38ACB70B}" type="presParOf" srcId="{931ED9C2-0CD8-4225-8BFA-F99B9BE2D330}" destId="{C316DD3F-A745-4721-8B2C-7A179614327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47D97E1-2B9E-4F21-AC72-7814EC633A1B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DE"/>
        </a:p>
      </dgm:t>
    </dgm:pt>
    <dgm:pt modelId="{21569B8E-9CB9-452E-BC59-AC391FD00031}">
      <dgm:prSet phldrT="[Text]" custT="1"/>
      <dgm:spPr/>
      <dgm:t>
        <a:bodyPr/>
        <a:lstStyle/>
        <a:p>
          <a:r>
            <a:rPr lang="en-US" sz="1000" b="1" dirty="0"/>
            <a:t>Transform</a:t>
          </a:r>
          <a:endParaRPr lang="en-DE" sz="1000" b="1" dirty="0"/>
        </a:p>
      </dgm:t>
    </dgm:pt>
    <dgm:pt modelId="{85E363A3-40CF-4DE5-B93D-2804536CFD17}" type="parTrans" cxnId="{0488B2F1-16E8-493A-AF02-423D368E2310}">
      <dgm:prSet/>
      <dgm:spPr/>
      <dgm:t>
        <a:bodyPr/>
        <a:lstStyle/>
        <a:p>
          <a:endParaRPr lang="en-DE"/>
        </a:p>
      </dgm:t>
    </dgm:pt>
    <dgm:pt modelId="{56F3E8A5-6EB4-4248-8DA0-54FE6335BCEB}" type="sibTrans" cxnId="{0488B2F1-16E8-493A-AF02-423D368E2310}">
      <dgm:prSet/>
      <dgm:spPr/>
      <dgm:t>
        <a:bodyPr/>
        <a:lstStyle/>
        <a:p>
          <a:endParaRPr lang="en-DE"/>
        </a:p>
      </dgm:t>
    </dgm:pt>
    <dgm:pt modelId="{3C1FB5CD-02E9-4328-B489-A5F36367810B}">
      <dgm:prSet phldrT="[Text]" custT="1"/>
      <dgm:spPr/>
      <dgm:t>
        <a:bodyPr/>
        <a:lstStyle/>
        <a:p>
          <a:r>
            <a:rPr lang="de-DE" sz="1100" b="0" dirty="0" err="1"/>
            <a:t>delete_columns</a:t>
          </a:r>
          <a:endParaRPr lang="en-DE" sz="1100" dirty="0"/>
        </a:p>
      </dgm:t>
    </dgm:pt>
    <dgm:pt modelId="{07906120-9E6B-4877-92C5-07ADE770D76A}" type="parTrans" cxnId="{BEED0954-245E-4B34-9D78-01115566B1C3}">
      <dgm:prSet/>
      <dgm:spPr/>
      <dgm:t>
        <a:bodyPr/>
        <a:lstStyle/>
        <a:p>
          <a:endParaRPr lang="en-DE"/>
        </a:p>
      </dgm:t>
    </dgm:pt>
    <dgm:pt modelId="{2CC70EAA-DC2A-430F-9E91-7529A50F4FF1}" type="sibTrans" cxnId="{BEED0954-245E-4B34-9D78-01115566B1C3}">
      <dgm:prSet/>
      <dgm:spPr/>
      <dgm:t>
        <a:bodyPr/>
        <a:lstStyle/>
        <a:p>
          <a:endParaRPr lang="en-DE"/>
        </a:p>
      </dgm:t>
    </dgm:pt>
    <dgm:pt modelId="{3FC9F5BA-9ABD-4AD1-90ED-61815BD41190}">
      <dgm:prSet phldrT="[Text]" custT="1"/>
      <dgm:spPr/>
      <dgm:t>
        <a:bodyPr/>
        <a:lstStyle/>
        <a:p>
          <a:r>
            <a:rPr lang="de-DE" sz="1100" b="0" dirty="0" err="1"/>
            <a:t>fill_missing_values</a:t>
          </a:r>
          <a:endParaRPr lang="en-DE" sz="1100" dirty="0"/>
        </a:p>
      </dgm:t>
    </dgm:pt>
    <dgm:pt modelId="{5BB5EAD4-0F81-404E-9194-366B991D9A23}" type="parTrans" cxnId="{6227981C-2786-4033-8B82-54610C795321}">
      <dgm:prSet/>
      <dgm:spPr/>
      <dgm:t>
        <a:bodyPr/>
        <a:lstStyle/>
        <a:p>
          <a:endParaRPr lang="en-DE"/>
        </a:p>
      </dgm:t>
    </dgm:pt>
    <dgm:pt modelId="{5EFB9FAA-DF8E-47CF-94A2-4D6859BBCADF}" type="sibTrans" cxnId="{6227981C-2786-4033-8B82-54610C795321}">
      <dgm:prSet/>
      <dgm:spPr/>
      <dgm:t>
        <a:bodyPr/>
        <a:lstStyle/>
        <a:p>
          <a:endParaRPr lang="en-DE"/>
        </a:p>
      </dgm:t>
    </dgm:pt>
    <dgm:pt modelId="{A26A7F2F-77BB-4641-9ED6-923DD88734AD}">
      <dgm:prSet phldrT="[Text]" custT="1"/>
      <dgm:spPr/>
      <dgm:t>
        <a:bodyPr/>
        <a:lstStyle/>
        <a:p>
          <a:r>
            <a:rPr lang="en-US" sz="1100" dirty="0" err="1"/>
            <a:t>drop_null_rows</a:t>
          </a:r>
          <a:endParaRPr lang="en-DE" sz="1100" dirty="0"/>
        </a:p>
      </dgm:t>
    </dgm:pt>
    <dgm:pt modelId="{7F8D638B-DFF4-41B3-8380-F943F751179A}" type="parTrans" cxnId="{F8928184-77A4-4BF7-88E8-BC697A61B877}">
      <dgm:prSet/>
      <dgm:spPr/>
      <dgm:t>
        <a:bodyPr/>
        <a:lstStyle/>
        <a:p>
          <a:endParaRPr lang="en-DE"/>
        </a:p>
      </dgm:t>
    </dgm:pt>
    <dgm:pt modelId="{278C7CDF-53B1-4EF5-A4A7-047587F4407A}" type="sibTrans" cxnId="{F8928184-77A4-4BF7-88E8-BC697A61B877}">
      <dgm:prSet/>
      <dgm:spPr/>
      <dgm:t>
        <a:bodyPr/>
        <a:lstStyle/>
        <a:p>
          <a:endParaRPr lang="en-DE"/>
        </a:p>
      </dgm:t>
    </dgm:pt>
    <dgm:pt modelId="{55E3FD19-BE9B-4151-AB7C-A6E3DD0A89EB}">
      <dgm:prSet phldrT="[Text]" custT="1"/>
      <dgm:spPr/>
      <dgm:t>
        <a:bodyPr/>
        <a:lstStyle/>
        <a:p>
          <a:r>
            <a:rPr lang="de-DE" sz="1100" b="0" dirty="0" err="1"/>
            <a:t>rename_columns</a:t>
          </a:r>
          <a:endParaRPr lang="en-DE" sz="1100" dirty="0"/>
        </a:p>
      </dgm:t>
    </dgm:pt>
    <dgm:pt modelId="{3A2B84AB-C3B8-4939-923A-CB4CCBDBEFD1}" type="parTrans" cxnId="{D9010E01-DBFC-4D11-8FD6-FF35FE679CCF}">
      <dgm:prSet/>
      <dgm:spPr/>
      <dgm:t>
        <a:bodyPr/>
        <a:lstStyle/>
        <a:p>
          <a:endParaRPr lang="en-DE"/>
        </a:p>
      </dgm:t>
    </dgm:pt>
    <dgm:pt modelId="{C2CCC94C-1B70-48A4-AF1C-57208A02D603}" type="sibTrans" cxnId="{D9010E01-DBFC-4D11-8FD6-FF35FE679CCF}">
      <dgm:prSet/>
      <dgm:spPr/>
      <dgm:t>
        <a:bodyPr/>
        <a:lstStyle/>
        <a:p>
          <a:endParaRPr lang="en-DE"/>
        </a:p>
      </dgm:t>
    </dgm:pt>
    <dgm:pt modelId="{E12ED534-AFC0-4372-A547-6AD677E1CC40}">
      <dgm:prSet phldrT="[Text]" custT="1"/>
      <dgm:spPr/>
      <dgm:t>
        <a:bodyPr/>
        <a:lstStyle/>
        <a:p>
          <a:r>
            <a:rPr lang="de-DE" sz="1100" b="0" dirty="0" err="1"/>
            <a:t>filter_rows</a:t>
          </a:r>
          <a:endParaRPr lang="en-DE" sz="1100" dirty="0"/>
        </a:p>
      </dgm:t>
    </dgm:pt>
    <dgm:pt modelId="{85FA3039-B2EF-49A1-AAA7-539BE750E360}" type="parTrans" cxnId="{050C14B7-B02C-4EFB-98DD-CE825CB31314}">
      <dgm:prSet/>
      <dgm:spPr/>
      <dgm:t>
        <a:bodyPr/>
        <a:lstStyle/>
        <a:p>
          <a:endParaRPr lang="en-DE"/>
        </a:p>
      </dgm:t>
    </dgm:pt>
    <dgm:pt modelId="{A2F059DE-ECD4-4372-9F33-644D58F500F2}" type="sibTrans" cxnId="{050C14B7-B02C-4EFB-98DD-CE825CB31314}">
      <dgm:prSet/>
      <dgm:spPr/>
      <dgm:t>
        <a:bodyPr/>
        <a:lstStyle/>
        <a:p>
          <a:endParaRPr lang="en-DE"/>
        </a:p>
      </dgm:t>
    </dgm:pt>
    <dgm:pt modelId="{49E9B5C2-9D9B-4407-9AE1-D031C447E3E1}">
      <dgm:prSet phldrT="[Text]" custT="1"/>
      <dgm:spPr/>
      <dgm:t>
        <a:bodyPr/>
        <a:lstStyle/>
        <a:p>
          <a:r>
            <a:rPr lang="de-DE" sz="1100" b="0" dirty="0" err="1"/>
            <a:t>add_new_column</a:t>
          </a:r>
          <a:endParaRPr lang="en-DE" sz="1100" dirty="0"/>
        </a:p>
      </dgm:t>
    </dgm:pt>
    <dgm:pt modelId="{6CB3F6A1-7833-48BB-AB0B-4F4A6C3286DA}" type="parTrans" cxnId="{A3C613FA-AC77-4E78-AC0F-93B531D629D0}">
      <dgm:prSet/>
      <dgm:spPr/>
      <dgm:t>
        <a:bodyPr/>
        <a:lstStyle/>
        <a:p>
          <a:endParaRPr lang="en-DE"/>
        </a:p>
      </dgm:t>
    </dgm:pt>
    <dgm:pt modelId="{29B1B1F0-D18C-49DD-8F8A-FBD19E5F0ED0}" type="sibTrans" cxnId="{A3C613FA-AC77-4E78-AC0F-93B531D629D0}">
      <dgm:prSet/>
      <dgm:spPr/>
      <dgm:t>
        <a:bodyPr/>
        <a:lstStyle/>
        <a:p>
          <a:endParaRPr lang="en-DE"/>
        </a:p>
      </dgm:t>
    </dgm:pt>
    <dgm:pt modelId="{68B49F68-308E-4FF8-BD16-BBCC0943D6C5}">
      <dgm:prSet phldrT="[Text]" custT="1"/>
      <dgm:spPr/>
      <dgm:t>
        <a:bodyPr/>
        <a:lstStyle/>
        <a:p>
          <a:r>
            <a:rPr lang="de-DE" sz="1100" b="1" dirty="0" err="1"/>
            <a:t>change_column_type</a:t>
          </a:r>
          <a:endParaRPr lang="en-DE" sz="1100" b="1" dirty="0"/>
        </a:p>
      </dgm:t>
    </dgm:pt>
    <dgm:pt modelId="{B800A326-EA43-4774-8AB3-2B97E06F6F76}" type="parTrans" cxnId="{D672FFBB-469A-4495-ABB9-AFFF07F20938}">
      <dgm:prSet/>
      <dgm:spPr/>
      <dgm:t>
        <a:bodyPr/>
        <a:lstStyle/>
        <a:p>
          <a:endParaRPr lang="en-DE"/>
        </a:p>
      </dgm:t>
    </dgm:pt>
    <dgm:pt modelId="{5EBE31AF-3BB7-41A2-939A-97D731557C1A}" type="sibTrans" cxnId="{D672FFBB-469A-4495-ABB9-AFFF07F20938}">
      <dgm:prSet/>
      <dgm:spPr/>
      <dgm:t>
        <a:bodyPr/>
        <a:lstStyle/>
        <a:p>
          <a:endParaRPr lang="en-DE"/>
        </a:p>
      </dgm:t>
    </dgm:pt>
    <dgm:pt modelId="{9DF0A607-CDD2-40A2-AE34-5B3EE5C5548B}">
      <dgm:prSet phldrT="[Text]" custT="1"/>
      <dgm:spPr/>
      <dgm:t>
        <a:bodyPr/>
        <a:lstStyle/>
        <a:p>
          <a:r>
            <a:rPr lang="de-DE" sz="1100" b="0" dirty="0" err="1"/>
            <a:t>standardize_date_column</a:t>
          </a:r>
          <a:endParaRPr lang="en-DE" sz="1100" dirty="0"/>
        </a:p>
      </dgm:t>
    </dgm:pt>
    <dgm:pt modelId="{096CB6AA-8DEE-4248-9097-6AA30EAB2820}" type="parTrans" cxnId="{2BB9710D-D36C-48DB-A729-240F6C3CF961}">
      <dgm:prSet/>
      <dgm:spPr/>
      <dgm:t>
        <a:bodyPr/>
        <a:lstStyle/>
        <a:p>
          <a:endParaRPr lang="en-DE"/>
        </a:p>
      </dgm:t>
    </dgm:pt>
    <dgm:pt modelId="{153CFE7C-6DD8-4AEF-9C5A-745B2AAD3826}" type="sibTrans" cxnId="{2BB9710D-D36C-48DB-A729-240F6C3CF961}">
      <dgm:prSet/>
      <dgm:spPr/>
      <dgm:t>
        <a:bodyPr/>
        <a:lstStyle/>
        <a:p>
          <a:endParaRPr lang="en-DE"/>
        </a:p>
      </dgm:t>
    </dgm:pt>
    <dgm:pt modelId="{6B201292-480B-47D3-A963-82B5FE8E30B0}">
      <dgm:prSet phldrT="[Text]" custT="1"/>
      <dgm:spPr/>
      <dgm:t>
        <a:bodyPr/>
        <a:lstStyle/>
        <a:p>
          <a:r>
            <a:rPr lang="de-DE" sz="1100" b="0" dirty="0" err="1"/>
            <a:t>rename_year_columns</a:t>
          </a:r>
          <a:endParaRPr lang="en-DE" sz="1100" dirty="0"/>
        </a:p>
      </dgm:t>
    </dgm:pt>
    <dgm:pt modelId="{4D451001-0C36-4D21-82DF-4F900FAE4D42}" type="parTrans" cxnId="{22041252-D4A0-4FF9-B2A9-FA31B18B88E6}">
      <dgm:prSet/>
      <dgm:spPr/>
      <dgm:t>
        <a:bodyPr/>
        <a:lstStyle/>
        <a:p>
          <a:endParaRPr lang="en-DE"/>
        </a:p>
      </dgm:t>
    </dgm:pt>
    <dgm:pt modelId="{B5867604-52A3-4A89-8818-1A2124F842DD}" type="sibTrans" cxnId="{22041252-D4A0-4FF9-B2A9-FA31B18B88E6}">
      <dgm:prSet/>
      <dgm:spPr/>
      <dgm:t>
        <a:bodyPr/>
        <a:lstStyle/>
        <a:p>
          <a:endParaRPr lang="en-DE"/>
        </a:p>
      </dgm:t>
    </dgm:pt>
    <dgm:pt modelId="{200344E1-8D78-46AF-BBAA-35EAE19A9A5F}" type="pres">
      <dgm:prSet presAssocID="{B47D97E1-2B9E-4F21-AC72-7814EC633A1B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0BCC5EA-E36B-4B20-AF9B-950C49D95EE2}" type="pres">
      <dgm:prSet presAssocID="{21569B8E-9CB9-452E-BC59-AC391FD00031}" presName="centerShape" presStyleLbl="node0" presStyleIdx="0" presStyleCnt="1"/>
      <dgm:spPr/>
    </dgm:pt>
    <dgm:pt modelId="{D50290E8-6739-40C7-8EDE-2A4C7E0BCBFD}" type="pres">
      <dgm:prSet presAssocID="{07906120-9E6B-4877-92C5-07ADE770D76A}" presName="parTrans" presStyleLbl="bgSibTrans2D1" presStyleIdx="0" presStyleCnt="9"/>
      <dgm:spPr/>
    </dgm:pt>
    <dgm:pt modelId="{5F127E1A-8765-4443-A6FD-56D083C19E0B}" type="pres">
      <dgm:prSet presAssocID="{3C1FB5CD-02E9-4328-B489-A5F36367810B}" presName="node" presStyleLbl="node1" presStyleIdx="0" presStyleCnt="9">
        <dgm:presLayoutVars>
          <dgm:bulletEnabled val="1"/>
        </dgm:presLayoutVars>
      </dgm:prSet>
      <dgm:spPr/>
    </dgm:pt>
    <dgm:pt modelId="{A0A84648-39A8-4802-9A10-7E47E610847D}" type="pres">
      <dgm:prSet presAssocID="{7F8D638B-DFF4-41B3-8380-F943F751179A}" presName="parTrans" presStyleLbl="bgSibTrans2D1" presStyleIdx="1" presStyleCnt="9"/>
      <dgm:spPr/>
    </dgm:pt>
    <dgm:pt modelId="{63DDDFB0-3F44-40C8-91C8-D09E1FD7AD82}" type="pres">
      <dgm:prSet presAssocID="{A26A7F2F-77BB-4641-9ED6-923DD88734AD}" presName="node" presStyleLbl="node1" presStyleIdx="1" presStyleCnt="9">
        <dgm:presLayoutVars>
          <dgm:bulletEnabled val="1"/>
        </dgm:presLayoutVars>
      </dgm:prSet>
      <dgm:spPr/>
    </dgm:pt>
    <dgm:pt modelId="{EEE444AA-6D71-4573-BDE8-606EACC47028}" type="pres">
      <dgm:prSet presAssocID="{5BB5EAD4-0F81-404E-9194-366B991D9A23}" presName="parTrans" presStyleLbl="bgSibTrans2D1" presStyleIdx="2" presStyleCnt="9"/>
      <dgm:spPr/>
    </dgm:pt>
    <dgm:pt modelId="{8508EBEB-4ADF-4D9B-BF55-3E5027E3D08B}" type="pres">
      <dgm:prSet presAssocID="{3FC9F5BA-9ABD-4AD1-90ED-61815BD41190}" presName="node" presStyleLbl="node1" presStyleIdx="2" presStyleCnt="9">
        <dgm:presLayoutVars>
          <dgm:bulletEnabled val="1"/>
        </dgm:presLayoutVars>
      </dgm:prSet>
      <dgm:spPr/>
    </dgm:pt>
    <dgm:pt modelId="{3392AD28-E887-4309-870D-4D5EDAB2B251}" type="pres">
      <dgm:prSet presAssocID="{3A2B84AB-C3B8-4939-923A-CB4CCBDBEFD1}" presName="parTrans" presStyleLbl="bgSibTrans2D1" presStyleIdx="3" presStyleCnt="9"/>
      <dgm:spPr/>
    </dgm:pt>
    <dgm:pt modelId="{C925AC09-2D44-4C45-A0FB-26A62ECB6459}" type="pres">
      <dgm:prSet presAssocID="{55E3FD19-BE9B-4151-AB7C-A6E3DD0A89EB}" presName="node" presStyleLbl="node1" presStyleIdx="3" presStyleCnt="9">
        <dgm:presLayoutVars>
          <dgm:bulletEnabled val="1"/>
        </dgm:presLayoutVars>
      </dgm:prSet>
      <dgm:spPr/>
    </dgm:pt>
    <dgm:pt modelId="{FCA7CF2B-C219-4744-BD4D-73525501397B}" type="pres">
      <dgm:prSet presAssocID="{85FA3039-B2EF-49A1-AAA7-539BE750E360}" presName="parTrans" presStyleLbl="bgSibTrans2D1" presStyleIdx="4" presStyleCnt="9"/>
      <dgm:spPr/>
    </dgm:pt>
    <dgm:pt modelId="{78A31CA8-F89E-4591-8426-37C1A8797ACB}" type="pres">
      <dgm:prSet presAssocID="{E12ED534-AFC0-4372-A547-6AD677E1CC40}" presName="node" presStyleLbl="node1" presStyleIdx="4" presStyleCnt="9">
        <dgm:presLayoutVars>
          <dgm:bulletEnabled val="1"/>
        </dgm:presLayoutVars>
      </dgm:prSet>
      <dgm:spPr/>
    </dgm:pt>
    <dgm:pt modelId="{F2C405E3-DF94-48AA-8C6B-3B15A4853EF0}" type="pres">
      <dgm:prSet presAssocID="{6CB3F6A1-7833-48BB-AB0B-4F4A6C3286DA}" presName="parTrans" presStyleLbl="bgSibTrans2D1" presStyleIdx="5" presStyleCnt="9"/>
      <dgm:spPr/>
    </dgm:pt>
    <dgm:pt modelId="{8BB76761-CFB5-4D78-AF2B-919E65D633F0}" type="pres">
      <dgm:prSet presAssocID="{49E9B5C2-9D9B-4407-9AE1-D031C447E3E1}" presName="node" presStyleLbl="node1" presStyleIdx="5" presStyleCnt="9">
        <dgm:presLayoutVars>
          <dgm:bulletEnabled val="1"/>
        </dgm:presLayoutVars>
      </dgm:prSet>
      <dgm:spPr/>
    </dgm:pt>
    <dgm:pt modelId="{8D44E9FC-E9F2-4183-A06C-D8BE1FEB7BA9}" type="pres">
      <dgm:prSet presAssocID="{B800A326-EA43-4774-8AB3-2B97E06F6F76}" presName="parTrans" presStyleLbl="bgSibTrans2D1" presStyleIdx="6" presStyleCnt="9"/>
      <dgm:spPr/>
    </dgm:pt>
    <dgm:pt modelId="{0745CA98-D655-46B9-99B6-2EB37F27CDCB}" type="pres">
      <dgm:prSet presAssocID="{68B49F68-308E-4FF8-BD16-BBCC0943D6C5}" presName="node" presStyleLbl="node1" presStyleIdx="6" presStyleCnt="9">
        <dgm:presLayoutVars>
          <dgm:bulletEnabled val="1"/>
        </dgm:presLayoutVars>
      </dgm:prSet>
      <dgm:spPr/>
    </dgm:pt>
    <dgm:pt modelId="{35B500C8-66F2-4BC2-80D5-D17BE9030851}" type="pres">
      <dgm:prSet presAssocID="{096CB6AA-8DEE-4248-9097-6AA30EAB2820}" presName="parTrans" presStyleLbl="bgSibTrans2D1" presStyleIdx="7" presStyleCnt="9"/>
      <dgm:spPr/>
    </dgm:pt>
    <dgm:pt modelId="{7D8FD3B7-1102-4044-B9D2-7D314F44E2E8}" type="pres">
      <dgm:prSet presAssocID="{9DF0A607-CDD2-40A2-AE34-5B3EE5C5548B}" presName="node" presStyleLbl="node1" presStyleIdx="7" presStyleCnt="9">
        <dgm:presLayoutVars>
          <dgm:bulletEnabled val="1"/>
        </dgm:presLayoutVars>
      </dgm:prSet>
      <dgm:spPr/>
    </dgm:pt>
    <dgm:pt modelId="{BE59E1CA-B591-461E-9213-0C92C158B556}" type="pres">
      <dgm:prSet presAssocID="{4D451001-0C36-4D21-82DF-4F900FAE4D42}" presName="parTrans" presStyleLbl="bgSibTrans2D1" presStyleIdx="8" presStyleCnt="9"/>
      <dgm:spPr/>
    </dgm:pt>
    <dgm:pt modelId="{9F42DB40-617F-4DCA-B082-CEC7EFA118F1}" type="pres">
      <dgm:prSet presAssocID="{6B201292-480B-47D3-A963-82B5FE8E30B0}" presName="node" presStyleLbl="node1" presStyleIdx="8" presStyleCnt="9">
        <dgm:presLayoutVars>
          <dgm:bulletEnabled val="1"/>
        </dgm:presLayoutVars>
      </dgm:prSet>
      <dgm:spPr/>
    </dgm:pt>
  </dgm:ptLst>
  <dgm:cxnLst>
    <dgm:cxn modelId="{D9010E01-DBFC-4D11-8FD6-FF35FE679CCF}" srcId="{21569B8E-9CB9-452E-BC59-AC391FD00031}" destId="{55E3FD19-BE9B-4151-AB7C-A6E3DD0A89EB}" srcOrd="3" destOrd="0" parTransId="{3A2B84AB-C3B8-4939-923A-CB4CCBDBEFD1}" sibTransId="{C2CCC94C-1B70-48A4-AF1C-57208A02D603}"/>
    <dgm:cxn modelId="{8C179502-89DF-4DAD-A36E-301E21CDB99C}" type="presOf" srcId="{6B201292-480B-47D3-A963-82B5FE8E30B0}" destId="{9F42DB40-617F-4DCA-B082-CEC7EFA118F1}" srcOrd="0" destOrd="0" presId="urn:microsoft.com/office/officeart/2005/8/layout/radial4"/>
    <dgm:cxn modelId="{CB4AA405-186C-4FA9-8389-B6ACCCB0781A}" type="presOf" srcId="{68B49F68-308E-4FF8-BD16-BBCC0943D6C5}" destId="{0745CA98-D655-46B9-99B6-2EB37F27CDCB}" srcOrd="0" destOrd="0" presId="urn:microsoft.com/office/officeart/2005/8/layout/radial4"/>
    <dgm:cxn modelId="{2BB9710D-D36C-48DB-A729-240F6C3CF961}" srcId="{21569B8E-9CB9-452E-BC59-AC391FD00031}" destId="{9DF0A607-CDD2-40A2-AE34-5B3EE5C5548B}" srcOrd="7" destOrd="0" parTransId="{096CB6AA-8DEE-4248-9097-6AA30EAB2820}" sibTransId="{153CFE7C-6DD8-4AEF-9C5A-745B2AAD3826}"/>
    <dgm:cxn modelId="{44647918-8B05-4307-8C73-03917B553AE9}" type="presOf" srcId="{E12ED534-AFC0-4372-A547-6AD677E1CC40}" destId="{78A31CA8-F89E-4591-8426-37C1A8797ACB}" srcOrd="0" destOrd="0" presId="urn:microsoft.com/office/officeart/2005/8/layout/radial4"/>
    <dgm:cxn modelId="{6227981C-2786-4033-8B82-54610C795321}" srcId="{21569B8E-9CB9-452E-BC59-AC391FD00031}" destId="{3FC9F5BA-9ABD-4AD1-90ED-61815BD41190}" srcOrd="2" destOrd="0" parTransId="{5BB5EAD4-0F81-404E-9194-366B991D9A23}" sibTransId="{5EFB9FAA-DF8E-47CF-94A2-4D6859BBCADF}"/>
    <dgm:cxn modelId="{619C5520-12DF-47DC-98E4-384FA3D5196D}" type="presOf" srcId="{3A2B84AB-C3B8-4939-923A-CB4CCBDBEFD1}" destId="{3392AD28-E887-4309-870D-4D5EDAB2B251}" srcOrd="0" destOrd="0" presId="urn:microsoft.com/office/officeart/2005/8/layout/radial4"/>
    <dgm:cxn modelId="{55E3BF23-B1CD-43D4-ABFA-C59E39C6ABAE}" type="presOf" srcId="{3FC9F5BA-9ABD-4AD1-90ED-61815BD41190}" destId="{8508EBEB-4ADF-4D9B-BF55-3E5027E3D08B}" srcOrd="0" destOrd="0" presId="urn:microsoft.com/office/officeart/2005/8/layout/radial4"/>
    <dgm:cxn modelId="{A7A7FC3A-95F3-4152-8A11-8F2CD79B26F7}" type="presOf" srcId="{4D451001-0C36-4D21-82DF-4F900FAE4D42}" destId="{BE59E1CA-B591-461E-9213-0C92C158B556}" srcOrd="0" destOrd="0" presId="urn:microsoft.com/office/officeart/2005/8/layout/radial4"/>
    <dgm:cxn modelId="{45CFFA3E-4BC9-49E6-B02E-42F86A1DD323}" type="presOf" srcId="{6CB3F6A1-7833-48BB-AB0B-4F4A6C3286DA}" destId="{F2C405E3-DF94-48AA-8C6B-3B15A4853EF0}" srcOrd="0" destOrd="0" presId="urn:microsoft.com/office/officeart/2005/8/layout/radial4"/>
    <dgm:cxn modelId="{31687E4D-1553-45F7-AF96-602295067BD2}" type="presOf" srcId="{9DF0A607-CDD2-40A2-AE34-5B3EE5C5548B}" destId="{7D8FD3B7-1102-4044-B9D2-7D314F44E2E8}" srcOrd="0" destOrd="0" presId="urn:microsoft.com/office/officeart/2005/8/layout/radial4"/>
    <dgm:cxn modelId="{8745E36F-16EA-45E5-8CF8-BDFD77D955FF}" type="presOf" srcId="{B800A326-EA43-4774-8AB3-2B97E06F6F76}" destId="{8D44E9FC-E9F2-4183-A06C-D8BE1FEB7BA9}" srcOrd="0" destOrd="0" presId="urn:microsoft.com/office/officeart/2005/8/layout/radial4"/>
    <dgm:cxn modelId="{85E5AB70-7722-4C12-A651-A0AF343127AE}" type="presOf" srcId="{A26A7F2F-77BB-4641-9ED6-923DD88734AD}" destId="{63DDDFB0-3F44-40C8-91C8-D09E1FD7AD82}" srcOrd="0" destOrd="0" presId="urn:microsoft.com/office/officeart/2005/8/layout/radial4"/>
    <dgm:cxn modelId="{22041252-D4A0-4FF9-B2A9-FA31B18B88E6}" srcId="{21569B8E-9CB9-452E-BC59-AC391FD00031}" destId="{6B201292-480B-47D3-A963-82B5FE8E30B0}" srcOrd="8" destOrd="0" parTransId="{4D451001-0C36-4D21-82DF-4F900FAE4D42}" sibTransId="{B5867604-52A3-4A89-8818-1A2124F842DD}"/>
    <dgm:cxn modelId="{BEED0954-245E-4B34-9D78-01115566B1C3}" srcId="{21569B8E-9CB9-452E-BC59-AC391FD00031}" destId="{3C1FB5CD-02E9-4328-B489-A5F36367810B}" srcOrd="0" destOrd="0" parTransId="{07906120-9E6B-4877-92C5-07ADE770D76A}" sibTransId="{2CC70EAA-DC2A-430F-9E91-7529A50F4FF1}"/>
    <dgm:cxn modelId="{C3962684-F368-4494-9BA2-D82C45AC2EB7}" type="presOf" srcId="{3C1FB5CD-02E9-4328-B489-A5F36367810B}" destId="{5F127E1A-8765-4443-A6FD-56D083C19E0B}" srcOrd="0" destOrd="0" presId="urn:microsoft.com/office/officeart/2005/8/layout/radial4"/>
    <dgm:cxn modelId="{F8928184-77A4-4BF7-88E8-BC697A61B877}" srcId="{21569B8E-9CB9-452E-BC59-AC391FD00031}" destId="{A26A7F2F-77BB-4641-9ED6-923DD88734AD}" srcOrd="1" destOrd="0" parTransId="{7F8D638B-DFF4-41B3-8380-F943F751179A}" sibTransId="{278C7CDF-53B1-4EF5-A4A7-047587F4407A}"/>
    <dgm:cxn modelId="{F8804D97-FBB1-4000-81E2-13063D5743EB}" type="presOf" srcId="{85FA3039-B2EF-49A1-AAA7-539BE750E360}" destId="{FCA7CF2B-C219-4744-BD4D-73525501397B}" srcOrd="0" destOrd="0" presId="urn:microsoft.com/office/officeart/2005/8/layout/radial4"/>
    <dgm:cxn modelId="{050C14B7-B02C-4EFB-98DD-CE825CB31314}" srcId="{21569B8E-9CB9-452E-BC59-AC391FD00031}" destId="{E12ED534-AFC0-4372-A547-6AD677E1CC40}" srcOrd="4" destOrd="0" parTransId="{85FA3039-B2EF-49A1-AAA7-539BE750E360}" sibTransId="{A2F059DE-ECD4-4372-9F33-644D58F500F2}"/>
    <dgm:cxn modelId="{889B39BA-7B3B-4277-98B8-D45AFA61AE4C}" type="presOf" srcId="{5BB5EAD4-0F81-404E-9194-366B991D9A23}" destId="{EEE444AA-6D71-4573-BDE8-606EACC47028}" srcOrd="0" destOrd="0" presId="urn:microsoft.com/office/officeart/2005/8/layout/radial4"/>
    <dgm:cxn modelId="{D672FFBB-469A-4495-ABB9-AFFF07F20938}" srcId="{21569B8E-9CB9-452E-BC59-AC391FD00031}" destId="{68B49F68-308E-4FF8-BD16-BBCC0943D6C5}" srcOrd="6" destOrd="0" parTransId="{B800A326-EA43-4774-8AB3-2B97E06F6F76}" sibTransId="{5EBE31AF-3BB7-41A2-939A-97D731557C1A}"/>
    <dgm:cxn modelId="{035642C4-D333-4117-B398-2C358FEAC387}" type="presOf" srcId="{21569B8E-9CB9-452E-BC59-AC391FD00031}" destId="{90BCC5EA-E36B-4B20-AF9B-950C49D95EE2}" srcOrd="0" destOrd="0" presId="urn:microsoft.com/office/officeart/2005/8/layout/radial4"/>
    <dgm:cxn modelId="{673830D7-225F-4A44-B6A5-84C2534AB414}" type="presOf" srcId="{B47D97E1-2B9E-4F21-AC72-7814EC633A1B}" destId="{200344E1-8D78-46AF-BBAA-35EAE19A9A5F}" srcOrd="0" destOrd="0" presId="urn:microsoft.com/office/officeart/2005/8/layout/radial4"/>
    <dgm:cxn modelId="{96A91DE4-4431-4E31-A1B7-3903670348DB}" type="presOf" srcId="{096CB6AA-8DEE-4248-9097-6AA30EAB2820}" destId="{35B500C8-66F2-4BC2-80D5-D17BE9030851}" srcOrd="0" destOrd="0" presId="urn:microsoft.com/office/officeart/2005/8/layout/radial4"/>
    <dgm:cxn modelId="{3CFED6E8-F502-460D-832A-B9ECBC35AC05}" type="presOf" srcId="{55E3FD19-BE9B-4151-AB7C-A6E3DD0A89EB}" destId="{C925AC09-2D44-4C45-A0FB-26A62ECB6459}" srcOrd="0" destOrd="0" presId="urn:microsoft.com/office/officeart/2005/8/layout/radial4"/>
    <dgm:cxn modelId="{2733CAEB-AB91-463F-AB3C-B2CFC4D2447A}" type="presOf" srcId="{07906120-9E6B-4877-92C5-07ADE770D76A}" destId="{D50290E8-6739-40C7-8EDE-2A4C7E0BCBFD}" srcOrd="0" destOrd="0" presId="urn:microsoft.com/office/officeart/2005/8/layout/radial4"/>
    <dgm:cxn modelId="{5ACF3DED-13D3-4278-85F2-93771FC40EBA}" type="presOf" srcId="{7F8D638B-DFF4-41B3-8380-F943F751179A}" destId="{A0A84648-39A8-4802-9A10-7E47E610847D}" srcOrd="0" destOrd="0" presId="urn:microsoft.com/office/officeart/2005/8/layout/radial4"/>
    <dgm:cxn modelId="{0488B2F1-16E8-493A-AF02-423D368E2310}" srcId="{B47D97E1-2B9E-4F21-AC72-7814EC633A1B}" destId="{21569B8E-9CB9-452E-BC59-AC391FD00031}" srcOrd="0" destOrd="0" parTransId="{85E363A3-40CF-4DE5-B93D-2804536CFD17}" sibTransId="{56F3E8A5-6EB4-4248-8DA0-54FE6335BCEB}"/>
    <dgm:cxn modelId="{A3C613FA-AC77-4E78-AC0F-93B531D629D0}" srcId="{21569B8E-9CB9-452E-BC59-AC391FD00031}" destId="{49E9B5C2-9D9B-4407-9AE1-D031C447E3E1}" srcOrd="5" destOrd="0" parTransId="{6CB3F6A1-7833-48BB-AB0B-4F4A6C3286DA}" sibTransId="{29B1B1F0-D18C-49DD-8F8A-FBD19E5F0ED0}"/>
    <dgm:cxn modelId="{63EFA0FE-229F-4531-9C40-5BAEA69A019F}" type="presOf" srcId="{49E9B5C2-9D9B-4407-9AE1-D031C447E3E1}" destId="{8BB76761-CFB5-4D78-AF2B-919E65D633F0}" srcOrd="0" destOrd="0" presId="urn:microsoft.com/office/officeart/2005/8/layout/radial4"/>
    <dgm:cxn modelId="{A6C15E5A-910C-4A2B-8CE4-00F44C123BE3}" type="presParOf" srcId="{200344E1-8D78-46AF-BBAA-35EAE19A9A5F}" destId="{90BCC5EA-E36B-4B20-AF9B-950C49D95EE2}" srcOrd="0" destOrd="0" presId="urn:microsoft.com/office/officeart/2005/8/layout/radial4"/>
    <dgm:cxn modelId="{CB520434-BCF9-4C4E-A2D5-12465B4743E1}" type="presParOf" srcId="{200344E1-8D78-46AF-BBAA-35EAE19A9A5F}" destId="{D50290E8-6739-40C7-8EDE-2A4C7E0BCBFD}" srcOrd="1" destOrd="0" presId="urn:microsoft.com/office/officeart/2005/8/layout/radial4"/>
    <dgm:cxn modelId="{991E9B97-044F-47CD-A7D3-4620B39DF790}" type="presParOf" srcId="{200344E1-8D78-46AF-BBAA-35EAE19A9A5F}" destId="{5F127E1A-8765-4443-A6FD-56D083C19E0B}" srcOrd="2" destOrd="0" presId="urn:microsoft.com/office/officeart/2005/8/layout/radial4"/>
    <dgm:cxn modelId="{384DEC28-A02C-40AA-9D73-1501297954A1}" type="presParOf" srcId="{200344E1-8D78-46AF-BBAA-35EAE19A9A5F}" destId="{A0A84648-39A8-4802-9A10-7E47E610847D}" srcOrd="3" destOrd="0" presId="urn:microsoft.com/office/officeart/2005/8/layout/radial4"/>
    <dgm:cxn modelId="{63B63EA8-BF6D-4A93-9B94-BDE488807078}" type="presParOf" srcId="{200344E1-8D78-46AF-BBAA-35EAE19A9A5F}" destId="{63DDDFB0-3F44-40C8-91C8-D09E1FD7AD82}" srcOrd="4" destOrd="0" presId="urn:microsoft.com/office/officeart/2005/8/layout/radial4"/>
    <dgm:cxn modelId="{C3134E01-CA0E-49B5-A40F-4334B6517933}" type="presParOf" srcId="{200344E1-8D78-46AF-BBAA-35EAE19A9A5F}" destId="{EEE444AA-6D71-4573-BDE8-606EACC47028}" srcOrd="5" destOrd="0" presId="urn:microsoft.com/office/officeart/2005/8/layout/radial4"/>
    <dgm:cxn modelId="{3761E955-1FDB-4A83-8911-30FEC0073A51}" type="presParOf" srcId="{200344E1-8D78-46AF-BBAA-35EAE19A9A5F}" destId="{8508EBEB-4ADF-4D9B-BF55-3E5027E3D08B}" srcOrd="6" destOrd="0" presId="urn:microsoft.com/office/officeart/2005/8/layout/radial4"/>
    <dgm:cxn modelId="{F0BC2A4F-901A-4983-A9F1-0179C374F9B2}" type="presParOf" srcId="{200344E1-8D78-46AF-BBAA-35EAE19A9A5F}" destId="{3392AD28-E887-4309-870D-4D5EDAB2B251}" srcOrd="7" destOrd="0" presId="urn:microsoft.com/office/officeart/2005/8/layout/radial4"/>
    <dgm:cxn modelId="{E08F3495-4A8D-4277-8676-298ABCF600D3}" type="presParOf" srcId="{200344E1-8D78-46AF-BBAA-35EAE19A9A5F}" destId="{C925AC09-2D44-4C45-A0FB-26A62ECB6459}" srcOrd="8" destOrd="0" presId="urn:microsoft.com/office/officeart/2005/8/layout/radial4"/>
    <dgm:cxn modelId="{39D142AA-9B6D-4D61-9136-13FFD0650890}" type="presParOf" srcId="{200344E1-8D78-46AF-BBAA-35EAE19A9A5F}" destId="{FCA7CF2B-C219-4744-BD4D-73525501397B}" srcOrd="9" destOrd="0" presId="urn:microsoft.com/office/officeart/2005/8/layout/radial4"/>
    <dgm:cxn modelId="{15BF7B29-3A66-4EA0-B214-2D13C955E8D2}" type="presParOf" srcId="{200344E1-8D78-46AF-BBAA-35EAE19A9A5F}" destId="{78A31CA8-F89E-4591-8426-37C1A8797ACB}" srcOrd="10" destOrd="0" presId="urn:microsoft.com/office/officeart/2005/8/layout/radial4"/>
    <dgm:cxn modelId="{BF210C28-76E3-47D3-983D-E154571F87DF}" type="presParOf" srcId="{200344E1-8D78-46AF-BBAA-35EAE19A9A5F}" destId="{F2C405E3-DF94-48AA-8C6B-3B15A4853EF0}" srcOrd="11" destOrd="0" presId="urn:microsoft.com/office/officeart/2005/8/layout/radial4"/>
    <dgm:cxn modelId="{24F6D4B5-1CB3-4838-AB9E-46C0BD9C0CB3}" type="presParOf" srcId="{200344E1-8D78-46AF-BBAA-35EAE19A9A5F}" destId="{8BB76761-CFB5-4D78-AF2B-919E65D633F0}" srcOrd="12" destOrd="0" presId="urn:microsoft.com/office/officeart/2005/8/layout/radial4"/>
    <dgm:cxn modelId="{AC05AEC9-461E-4351-BE7C-612040F8F706}" type="presParOf" srcId="{200344E1-8D78-46AF-BBAA-35EAE19A9A5F}" destId="{8D44E9FC-E9F2-4183-A06C-D8BE1FEB7BA9}" srcOrd="13" destOrd="0" presId="urn:microsoft.com/office/officeart/2005/8/layout/radial4"/>
    <dgm:cxn modelId="{FA012DB1-B8F3-4AAB-AA9B-6306C9E7C22F}" type="presParOf" srcId="{200344E1-8D78-46AF-BBAA-35EAE19A9A5F}" destId="{0745CA98-D655-46B9-99B6-2EB37F27CDCB}" srcOrd="14" destOrd="0" presId="urn:microsoft.com/office/officeart/2005/8/layout/radial4"/>
    <dgm:cxn modelId="{5B97DCA9-624A-4C5A-B11B-E4FF1686C02F}" type="presParOf" srcId="{200344E1-8D78-46AF-BBAA-35EAE19A9A5F}" destId="{35B500C8-66F2-4BC2-80D5-D17BE9030851}" srcOrd="15" destOrd="0" presId="urn:microsoft.com/office/officeart/2005/8/layout/radial4"/>
    <dgm:cxn modelId="{146720FF-5B9D-4107-9FB6-7FF1635AEE1A}" type="presParOf" srcId="{200344E1-8D78-46AF-BBAA-35EAE19A9A5F}" destId="{7D8FD3B7-1102-4044-B9D2-7D314F44E2E8}" srcOrd="16" destOrd="0" presId="urn:microsoft.com/office/officeart/2005/8/layout/radial4"/>
    <dgm:cxn modelId="{03DB4378-9C8A-406C-9B83-4F9787A57FB4}" type="presParOf" srcId="{200344E1-8D78-46AF-BBAA-35EAE19A9A5F}" destId="{BE59E1CA-B591-461E-9213-0C92C158B556}" srcOrd="17" destOrd="0" presId="urn:microsoft.com/office/officeart/2005/8/layout/radial4"/>
    <dgm:cxn modelId="{489C0003-A35A-4641-9C70-E0FE4D4B5E91}" type="presParOf" srcId="{200344E1-8D78-46AF-BBAA-35EAE19A9A5F}" destId="{9F42DB40-617F-4DCA-B082-CEC7EFA118F1}" srcOrd="1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47D97E1-2B9E-4F21-AC72-7814EC633A1B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DE"/>
        </a:p>
      </dgm:t>
    </dgm:pt>
    <dgm:pt modelId="{21569B8E-9CB9-452E-BC59-AC391FD00031}">
      <dgm:prSet phldrT="[Text]"/>
      <dgm:spPr/>
      <dgm:t>
        <a:bodyPr/>
        <a:lstStyle/>
        <a:p>
          <a:r>
            <a:rPr lang="en-US" dirty="0"/>
            <a:t>Data Sources (URLs)</a:t>
          </a:r>
          <a:endParaRPr lang="en-DE" dirty="0"/>
        </a:p>
      </dgm:t>
    </dgm:pt>
    <dgm:pt modelId="{85E363A3-40CF-4DE5-B93D-2804536CFD17}" type="parTrans" cxnId="{0488B2F1-16E8-493A-AF02-423D368E2310}">
      <dgm:prSet/>
      <dgm:spPr/>
      <dgm:t>
        <a:bodyPr/>
        <a:lstStyle/>
        <a:p>
          <a:endParaRPr lang="en-DE"/>
        </a:p>
      </dgm:t>
    </dgm:pt>
    <dgm:pt modelId="{56F3E8A5-6EB4-4248-8DA0-54FE6335BCEB}" type="sibTrans" cxnId="{0488B2F1-16E8-493A-AF02-423D368E2310}">
      <dgm:prSet/>
      <dgm:spPr/>
      <dgm:t>
        <a:bodyPr/>
        <a:lstStyle/>
        <a:p>
          <a:endParaRPr lang="en-DE"/>
        </a:p>
      </dgm:t>
    </dgm:pt>
    <dgm:pt modelId="{3C1FB5CD-02E9-4328-B489-A5F36367810B}">
      <dgm:prSet phldrT="[Text]"/>
      <dgm:spPr/>
      <dgm:t>
        <a:bodyPr/>
        <a:lstStyle/>
        <a:p>
          <a:r>
            <a:rPr lang="en-US" dirty="0"/>
            <a:t>Extractor</a:t>
          </a:r>
          <a:endParaRPr lang="en-DE" dirty="0"/>
        </a:p>
      </dgm:t>
    </dgm:pt>
    <dgm:pt modelId="{07906120-9E6B-4877-92C5-07ADE770D76A}" type="parTrans" cxnId="{BEED0954-245E-4B34-9D78-01115566B1C3}">
      <dgm:prSet/>
      <dgm:spPr/>
      <dgm:t>
        <a:bodyPr/>
        <a:lstStyle/>
        <a:p>
          <a:endParaRPr lang="en-DE"/>
        </a:p>
      </dgm:t>
    </dgm:pt>
    <dgm:pt modelId="{2CC70EAA-DC2A-430F-9E91-7529A50F4FF1}" type="sibTrans" cxnId="{BEED0954-245E-4B34-9D78-01115566B1C3}">
      <dgm:prSet/>
      <dgm:spPr/>
      <dgm:t>
        <a:bodyPr/>
        <a:lstStyle/>
        <a:p>
          <a:endParaRPr lang="en-DE"/>
        </a:p>
      </dgm:t>
    </dgm:pt>
    <dgm:pt modelId="{3FC9F5BA-9ABD-4AD1-90ED-61815BD41190}">
      <dgm:prSet phldrT="[Text]"/>
      <dgm:spPr/>
      <dgm:t>
        <a:bodyPr/>
        <a:lstStyle/>
        <a:p>
          <a:r>
            <a:rPr lang="en-US" dirty="0"/>
            <a:t>Loader</a:t>
          </a:r>
          <a:endParaRPr lang="en-DE" dirty="0"/>
        </a:p>
      </dgm:t>
    </dgm:pt>
    <dgm:pt modelId="{5BB5EAD4-0F81-404E-9194-366B991D9A23}" type="parTrans" cxnId="{6227981C-2786-4033-8B82-54610C795321}">
      <dgm:prSet/>
      <dgm:spPr/>
      <dgm:t>
        <a:bodyPr/>
        <a:lstStyle/>
        <a:p>
          <a:endParaRPr lang="en-DE"/>
        </a:p>
      </dgm:t>
    </dgm:pt>
    <dgm:pt modelId="{5EFB9FAA-DF8E-47CF-94A2-4D6859BBCADF}" type="sibTrans" cxnId="{6227981C-2786-4033-8B82-54610C795321}">
      <dgm:prSet/>
      <dgm:spPr/>
      <dgm:t>
        <a:bodyPr/>
        <a:lstStyle/>
        <a:p>
          <a:endParaRPr lang="en-DE"/>
        </a:p>
      </dgm:t>
    </dgm:pt>
    <dgm:pt modelId="{A26A7F2F-77BB-4641-9ED6-923DD88734AD}">
      <dgm:prSet phldrT="[Text]"/>
      <dgm:spPr/>
      <dgm:t>
        <a:bodyPr/>
        <a:lstStyle/>
        <a:p>
          <a:r>
            <a:rPr lang="en-US" dirty="0"/>
            <a:t>Transform</a:t>
          </a:r>
          <a:endParaRPr lang="en-DE" dirty="0"/>
        </a:p>
      </dgm:t>
    </dgm:pt>
    <dgm:pt modelId="{7F8D638B-DFF4-41B3-8380-F943F751179A}" type="parTrans" cxnId="{F8928184-77A4-4BF7-88E8-BC697A61B877}">
      <dgm:prSet/>
      <dgm:spPr/>
      <dgm:t>
        <a:bodyPr/>
        <a:lstStyle/>
        <a:p>
          <a:endParaRPr lang="en-DE"/>
        </a:p>
      </dgm:t>
    </dgm:pt>
    <dgm:pt modelId="{278C7CDF-53B1-4EF5-A4A7-047587F4407A}" type="sibTrans" cxnId="{F8928184-77A4-4BF7-88E8-BC697A61B877}">
      <dgm:prSet/>
      <dgm:spPr/>
      <dgm:t>
        <a:bodyPr/>
        <a:lstStyle/>
        <a:p>
          <a:endParaRPr lang="en-DE"/>
        </a:p>
      </dgm:t>
    </dgm:pt>
    <dgm:pt modelId="{CF2F88BA-AB49-46FD-A913-034BC1CCCB07}">
      <dgm:prSet phldrT="[Text]"/>
      <dgm:spPr/>
      <dgm:t>
        <a:bodyPr/>
        <a:lstStyle/>
        <a:p>
          <a:r>
            <a:rPr lang="en-US" dirty="0"/>
            <a:t>DB (SQLite)</a:t>
          </a:r>
          <a:endParaRPr lang="en-DE" dirty="0"/>
        </a:p>
      </dgm:t>
    </dgm:pt>
    <dgm:pt modelId="{76056DA9-70B2-4CB0-B351-6B2043C24426}" type="parTrans" cxnId="{D081530B-F4F8-466F-BF71-5315FD78B145}">
      <dgm:prSet/>
      <dgm:spPr/>
      <dgm:t>
        <a:bodyPr/>
        <a:lstStyle/>
        <a:p>
          <a:endParaRPr lang="en-DE"/>
        </a:p>
      </dgm:t>
    </dgm:pt>
    <dgm:pt modelId="{ABDC3BCB-0AF5-4A88-B3C4-EDCF19EB42DB}" type="sibTrans" cxnId="{D081530B-F4F8-466F-BF71-5315FD78B145}">
      <dgm:prSet/>
      <dgm:spPr/>
      <dgm:t>
        <a:bodyPr/>
        <a:lstStyle/>
        <a:p>
          <a:endParaRPr lang="en-DE"/>
        </a:p>
      </dgm:t>
    </dgm:pt>
    <dgm:pt modelId="{5ED28C6B-62F2-44F6-BA71-983BE40E7EE0}" type="pres">
      <dgm:prSet presAssocID="{B47D97E1-2B9E-4F21-AC72-7814EC633A1B}" presName="Name0" presStyleCnt="0">
        <dgm:presLayoutVars>
          <dgm:dir/>
          <dgm:resizeHandles val="exact"/>
        </dgm:presLayoutVars>
      </dgm:prSet>
      <dgm:spPr/>
    </dgm:pt>
    <dgm:pt modelId="{7BA9F1F1-54EC-4A7A-9869-945AC0EFDA72}" type="pres">
      <dgm:prSet presAssocID="{21569B8E-9CB9-452E-BC59-AC391FD00031}" presName="composite" presStyleCnt="0"/>
      <dgm:spPr/>
    </dgm:pt>
    <dgm:pt modelId="{E434B13D-CD30-4B0B-BF7F-04E463EAC4A5}" type="pres">
      <dgm:prSet presAssocID="{21569B8E-9CB9-452E-BC59-AC391FD00031}" presName="bgChev" presStyleLbl="node1" presStyleIdx="0" presStyleCnt="5"/>
      <dgm:spPr/>
    </dgm:pt>
    <dgm:pt modelId="{E1FC15DF-3445-4F1A-B2F5-2FD3E47960A8}" type="pres">
      <dgm:prSet presAssocID="{21569B8E-9CB9-452E-BC59-AC391FD00031}" presName="txNode" presStyleLbl="fgAcc1" presStyleIdx="0" presStyleCnt="5">
        <dgm:presLayoutVars>
          <dgm:bulletEnabled val="1"/>
        </dgm:presLayoutVars>
      </dgm:prSet>
      <dgm:spPr/>
    </dgm:pt>
    <dgm:pt modelId="{0B69383C-AFD1-4349-85E9-CDBE4DE94DE5}" type="pres">
      <dgm:prSet presAssocID="{56F3E8A5-6EB4-4248-8DA0-54FE6335BCEB}" presName="compositeSpace" presStyleCnt="0"/>
      <dgm:spPr/>
    </dgm:pt>
    <dgm:pt modelId="{0A044A15-7973-4433-AFC8-03B1339C7958}" type="pres">
      <dgm:prSet presAssocID="{3C1FB5CD-02E9-4328-B489-A5F36367810B}" presName="composite" presStyleCnt="0"/>
      <dgm:spPr/>
    </dgm:pt>
    <dgm:pt modelId="{7155FD61-898E-4AAA-9028-008221D6E50A}" type="pres">
      <dgm:prSet presAssocID="{3C1FB5CD-02E9-4328-B489-A5F36367810B}" presName="bgChev" presStyleLbl="node1" presStyleIdx="1" presStyleCnt="5"/>
      <dgm:spPr/>
    </dgm:pt>
    <dgm:pt modelId="{BFB5D64B-6990-4C1A-808C-1615AE1EA9E8}" type="pres">
      <dgm:prSet presAssocID="{3C1FB5CD-02E9-4328-B489-A5F36367810B}" presName="txNode" presStyleLbl="fgAcc1" presStyleIdx="1" presStyleCnt="5">
        <dgm:presLayoutVars>
          <dgm:bulletEnabled val="1"/>
        </dgm:presLayoutVars>
      </dgm:prSet>
      <dgm:spPr/>
    </dgm:pt>
    <dgm:pt modelId="{B7505477-61AA-443A-8B29-8A203363DA71}" type="pres">
      <dgm:prSet presAssocID="{2CC70EAA-DC2A-430F-9E91-7529A50F4FF1}" presName="compositeSpace" presStyleCnt="0"/>
      <dgm:spPr/>
    </dgm:pt>
    <dgm:pt modelId="{5C34D52A-AEAB-44DF-8E94-AE386854961A}" type="pres">
      <dgm:prSet presAssocID="{A26A7F2F-77BB-4641-9ED6-923DD88734AD}" presName="composite" presStyleCnt="0"/>
      <dgm:spPr/>
    </dgm:pt>
    <dgm:pt modelId="{457A74D3-EBEA-461A-B559-EDA8C0B9CF67}" type="pres">
      <dgm:prSet presAssocID="{A26A7F2F-77BB-4641-9ED6-923DD88734AD}" presName="bgChev" presStyleLbl="node1" presStyleIdx="2" presStyleCnt="5"/>
      <dgm:spPr/>
    </dgm:pt>
    <dgm:pt modelId="{4AF64471-C8B7-480D-9E05-C15BC10C03B7}" type="pres">
      <dgm:prSet presAssocID="{A26A7F2F-77BB-4641-9ED6-923DD88734AD}" presName="txNode" presStyleLbl="fgAcc1" presStyleIdx="2" presStyleCnt="5">
        <dgm:presLayoutVars>
          <dgm:bulletEnabled val="1"/>
        </dgm:presLayoutVars>
      </dgm:prSet>
      <dgm:spPr/>
    </dgm:pt>
    <dgm:pt modelId="{37A53C79-DC19-4622-83FF-7B91D16530A1}" type="pres">
      <dgm:prSet presAssocID="{278C7CDF-53B1-4EF5-A4A7-047587F4407A}" presName="compositeSpace" presStyleCnt="0"/>
      <dgm:spPr/>
    </dgm:pt>
    <dgm:pt modelId="{4C22407E-5125-40FA-BC96-264402C278C8}" type="pres">
      <dgm:prSet presAssocID="{3FC9F5BA-9ABD-4AD1-90ED-61815BD41190}" presName="composite" presStyleCnt="0"/>
      <dgm:spPr/>
    </dgm:pt>
    <dgm:pt modelId="{F67B4C6D-9306-4DEC-995E-251C08E23D9C}" type="pres">
      <dgm:prSet presAssocID="{3FC9F5BA-9ABD-4AD1-90ED-61815BD41190}" presName="bgChev" presStyleLbl="node1" presStyleIdx="3" presStyleCnt="5"/>
      <dgm:spPr/>
    </dgm:pt>
    <dgm:pt modelId="{E82EFB9F-D09D-4B94-97B7-A11348F645DD}" type="pres">
      <dgm:prSet presAssocID="{3FC9F5BA-9ABD-4AD1-90ED-61815BD41190}" presName="txNode" presStyleLbl="fgAcc1" presStyleIdx="3" presStyleCnt="5">
        <dgm:presLayoutVars>
          <dgm:bulletEnabled val="1"/>
        </dgm:presLayoutVars>
      </dgm:prSet>
      <dgm:spPr/>
    </dgm:pt>
    <dgm:pt modelId="{0D75F9CE-34DF-4BE2-903F-FA376ABD6CE9}" type="pres">
      <dgm:prSet presAssocID="{5EFB9FAA-DF8E-47CF-94A2-4D6859BBCADF}" presName="compositeSpace" presStyleCnt="0"/>
      <dgm:spPr/>
    </dgm:pt>
    <dgm:pt modelId="{5375C48F-50A5-496C-A1AE-63DE4DB4D867}" type="pres">
      <dgm:prSet presAssocID="{CF2F88BA-AB49-46FD-A913-034BC1CCCB07}" presName="composite" presStyleCnt="0"/>
      <dgm:spPr/>
    </dgm:pt>
    <dgm:pt modelId="{994987C8-29A3-4B74-A19F-3F1C69B05CD6}" type="pres">
      <dgm:prSet presAssocID="{CF2F88BA-AB49-46FD-A913-034BC1CCCB07}" presName="bgChev" presStyleLbl="node1" presStyleIdx="4" presStyleCnt="5"/>
      <dgm:spPr/>
    </dgm:pt>
    <dgm:pt modelId="{17560946-5511-430A-807C-759B2888ED34}" type="pres">
      <dgm:prSet presAssocID="{CF2F88BA-AB49-46FD-A913-034BC1CCCB07}" presName="txNode" presStyleLbl="fgAcc1" presStyleIdx="4" presStyleCnt="5">
        <dgm:presLayoutVars>
          <dgm:bulletEnabled val="1"/>
        </dgm:presLayoutVars>
      </dgm:prSet>
      <dgm:spPr/>
    </dgm:pt>
  </dgm:ptLst>
  <dgm:cxnLst>
    <dgm:cxn modelId="{D081530B-F4F8-466F-BF71-5315FD78B145}" srcId="{B47D97E1-2B9E-4F21-AC72-7814EC633A1B}" destId="{CF2F88BA-AB49-46FD-A913-034BC1CCCB07}" srcOrd="4" destOrd="0" parTransId="{76056DA9-70B2-4CB0-B351-6B2043C24426}" sibTransId="{ABDC3BCB-0AF5-4A88-B3C4-EDCF19EB42DB}"/>
    <dgm:cxn modelId="{ADFEF518-7480-445F-8F7F-C00C1A2FB99A}" type="presOf" srcId="{3FC9F5BA-9ABD-4AD1-90ED-61815BD41190}" destId="{E82EFB9F-D09D-4B94-97B7-A11348F645DD}" srcOrd="0" destOrd="0" presId="urn:microsoft.com/office/officeart/2005/8/layout/chevronAccent+Icon"/>
    <dgm:cxn modelId="{6227981C-2786-4033-8B82-54610C795321}" srcId="{B47D97E1-2B9E-4F21-AC72-7814EC633A1B}" destId="{3FC9F5BA-9ABD-4AD1-90ED-61815BD41190}" srcOrd="3" destOrd="0" parTransId="{5BB5EAD4-0F81-404E-9194-366B991D9A23}" sibTransId="{5EFB9FAA-DF8E-47CF-94A2-4D6859BBCADF}"/>
    <dgm:cxn modelId="{3A01312C-C7EF-48A8-B22C-1E0319F761E8}" type="presOf" srcId="{B47D97E1-2B9E-4F21-AC72-7814EC633A1B}" destId="{5ED28C6B-62F2-44F6-BA71-983BE40E7EE0}" srcOrd="0" destOrd="0" presId="urn:microsoft.com/office/officeart/2005/8/layout/chevronAccent+Icon"/>
    <dgm:cxn modelId="{1FAB4533-FC5A-43A9-B46E-15B67D8F360F}" type="presOf" srcId="{A26A7F2F-77BB-4641-9ED6-923DD88734AD}" destId="{4AF64471-C8B7-480D-9E05-C15BC10C03B7}" srcOrd="0" destOrd="0" presId="urn:microsoft.com/office/officeart/2005/8/layout/chevronAccent+Icon"/>
    <dgm:cxn modelId="{BEED0954-245E-4B34-9D78-01115566B1C3}" srcId="{B47D97E1-2B9E-4F21-AC72-7814EC633A1B}" destId="{3C1FB5CD-02E9-4328-B489-A5F36367810B}" srcOrd="1" destOrd="0" parTransId="{07906120-9E6B-4877-92C5-07ADE770D76A}" sibTransId="{2CC70EAA-DC2A-430F-9E91-7529A50F4FF1}"/>
    <dgm:cxn modelId="{0C673C79-727F-4E56-A8D9-437208E88F6F}" type="presOf" srcId="{21569B8E-9CB9-452E-BC59-AC391FD00031}" destId="{E1FC15DF-3445-4F1A-B2F5-2FD3E47960A8}" srcOrd="0" destOrd="0" presId="urn:microsoft.com/office/officeart/2005/8/layout/chevronAccent+Icon"/>
    <dgm:cxn modelId="{F8928184-77A4-4BF7-88E8-BC697A61B877}" srcId="{B47D97E1-2B9E-4F21-AC72-7814EC633A1B}" destId="{A26A7F2F-77BB-4641-9ED6-923DD88734AD}" srcOrd="2" destOrd="0" parTransId="{7F8D638B-DFF4-41B3-8380-F943F751179A}" sibTransId="{278C7CDF-53B1-4EF5-A4A7-047587F4407A}"/>
    <dgm:cxn modelId="{4D372C9D-F247-4A18-8158-3D7BF3F2D1CD}" type="presOf" srcId="{3C1FB5CD-02E9-4328-B489-A5F36367810B}" destId="{BFB5D64B-6990-4C1A-808C-1615AE1EA9E8}" srcOrd="0" destOrd="0" presId="urn:microsoft.com/office/officeart/2005/8/layout/chevronAccent+Icon"/>
    <dgm:cxn modelId="{92714DB2-538C-43C0-A2B2-48037787E061}" type="presOf" srcId="{CF2F88BA-AB49-46FD-A913-034BC1CCCB07}" destId="{17560946-5511-430A-807C-759B2888ED34}" srcOrd="0" destOrd="0" presId="urn:microsoft.com/office/officeart/2005/8/layout/chevronAccent+Icon"/>
    <dgm:cxn modelId="{0488B2F1-16E8-493A-AF02-423D368E2310}" srcId="{B47D97E1-2B9E-4F21-AC72-7814EC633A1B}" destId="{21569B8E-9CB9-452E-BC59-AC391FD00031}" srcOrd="0" destOrd="0" parTransId="{85E363A3-40CF-4DE5-B93D-2804536CFD17}" sibTransId="{56F3E8A5-6EB4-4248-8DA0-54FE6335BCEB}"/>
    <dgm:cxn modelId="{ECBDD8B8-9546-40DD-8BD5-2E6519389503}" type="presParOf" srcId="{5ED28C6B-62F2-44F6-BA71-983BE40E7EE0}" destId="{7BA9F1F1-54EC-4A7A-9869-945AC0EFDA72}" srcOrd="0" destOrd="0" presId="urn:microsoft.com/office/officeart/2005/8/layout/chevronAccent+Icon"/>
    <dgm:cxn modelId="{D87E1760-9FA5-4BB4-A6A0-A902C61363DB}" type="presParOf" srcId="{7BA9F1F1-54EC-4A7A-9869-945AC0EFDA72}" destId="{E434B13D-CD30-4B0B-BF7F-04E463EAC4A5}" srcOrd="0" destOrd="0" presId="urn:microsoft.com/office/officeart/2005/8/layout/chevronAccent+Icon"/>
    <dgm:cxn modelId="{10936980-5389-431A-805E-ACD750BAC959}" type="presParOf" srcId="{7BA9F1F1-54EC-4A7A-9869-945AC0EFDA72}" destId="{E1FC15DF-3445-4F1A-B2F5-2FD3E47960A8}" srcOrd="1" destOrd="0" presId="urn:microsoft.com/office/officeart/2005/8/layout/chevronAccent+Icon"/>
    <dgm:cxn modelId="{F11D01E9-B05C-46F9-8C49-4242A1F1A340}" type="presParOf" srcId="{5ED28C6B-62F2-44F6-BA71-983BE40E7EE0}" destId="{0B69383C-AFD1-4349-85E9-CDBE4DE94DE5}" srcOrd="1" destOrd="0" presId="urn:microsoft.com/office/officeart/2005/8/layout/chevronAccent+Icon"/>
    <dgm:cxn modelId="{3F9AC56C-D1F1-493F-9B82-677FA7C09520}" type="presParOf" srcId="{5ED28C6B-62F2-44F6-BA71-983BE40E7EE0}" destId="{0A044A15-7973-4433-AFC8-03B1339C7958}" srcOrd="2" destOrd="0" presId="urn:microsoft.com/office/officeart/2005/8/layout/chevronAccent+Icon"/>
    <dgm:cxn modelId="{EB20AD0A-728B-4076-AF10-161D94B718A6}" type="presParOf" srcId="{0A044A15-7973-4433-AFC8-03B1339C7958}" destId="{7155FD61-898E-4AAA-9028-008221D6E50A}" srcOrd="0" destOrd="0" presId="urn:microsoft.com/office/officeart/2005/8/layout/chevronAccent+Icon"/>
    <dgm:cxn modelId="{6384F4D4-F45A-4080-9C4D-75708A2A75C2}" type="presParOf" srcId="{0A044A15-7973-4433-AFC8-03B1339C7958}" destId="{BFB5D64B-6990-4C1A-808C-1615AE1EA9E8}" srcOrd="1" destOrd="0" presId="urn:microsoft.com/office/officeart/2005/8/layout/chevronAccent+Icon"/>
    <dgm:cxn modelId="{C3281271-DDC7-4CD4-8C1A-AC28710282EE}" type="presParOf" srcId="{5ED28C6B-62F2-44F6-BA71-983BE40E7EE0}" destId="{B7505477-61AA-443A-8B29-8A203363DA71}" srcOrd="3" destOrd="0" presId="urn:microsoft.com/office/officeart/2005/8/layout/chevronAccent+Icon"/>
    <dgm:cxn modelId="{187A8AD4-4CD6-4968-B027-D38BAAA01AA1}" type="presParOf" srcId="{5ED28C6B-62F2-44F6-BA71-983BE40E7EE0}" destId="{5C34D52A-AEAB-44DF-8E94-AE386854961A}" srcOrd="4" destOrd="0" presId="urn:microsoft.com/office/officeart/2005/8/layout/chevronAccent+Icon"/>
    <dgm:cxn modelId="{E16EE10C-C185-4D28-A978-0F40F874B1B7}" type="presParOf" srcId="{5C34D52A-AEAB-44DF-8E94-AE386854961A}" destId="{457A74D3-EBEA-461A-B559-EDA8C0B9CF67}" srcOrd="0" destOrd="0" presId="urn:microsoft.com/office/officeart/2005/8/layout/chevronAccent+Icon"/>
    <dgm:cxn modelId="{58B6015E-BC23-4101-9C61-7B4B00065FEA}" type="presParOf" srcId="{5C34D52A-AEAB-44DF-8E94-AE386854961A}" destId="{4AF64471-C8B7-480D-9E05-C15BC10C03B7}" srcOrd="1" destOrd="0" presId="urn:microsoft.com/office/officeart/2005/8/layout/chevronAccent+Icon"/>
    <dgm:cxn modelId="{B908C2BE-82BF-48F7-A98C-57A153D2454F}" type="presParOf" srcId="{5ED28C6B-62F2-44F6-BA71-983BE40E7EE0}" destId="{37A53C79-DC19-4622-83FF-7B91D16530A1}" srcOrd="5" destOrd="0" presId="urn:microsoft.com/office/officeart/2005/8/layout/chevronAccent+Icon"/>
    <dgm:cxn modelId="{83129D2C-81DF-4BAB-BCFB-5CCF78CDEB1D}" type="presParOf" srcId="{5ED28C6B-62F2-44F6-BA71-983BE40E7EE0}" destId="{4C22407E-5125-40FA-BC96-264402C278C8}" srcOrd="6" destOrd="0" presId="urn:microsoft.com/office/officeart/2005/8/layout/chevronAccent+Icon"/>
    <dgm:cxn modelId="{39A248AD-1A1D-4A59-9F26-9F36807DB8C9}" type="presParOf" srcId="{4C22407E-5125-40FA-BC96-264402C278C8}" destId="{F67B4C6D-9306-4DEC-995E-251C08E23D9C}" srcOrd="0" destOrd="0" presId="urn:microsoft.com/office/officeart/2005/8/layout/chevronAccent+Icon"/>
    <dgm:cxn modelId="{8DAEBF98-0690-49B3-A166-4B792D67EB73}" type="presParOf" srcId="{4C22407E-5125-40FA-BC96-264402C278C8}" destId="{E82EFB9F-D09D-4B94-97B7-A11348F645DD}" srcOrd="1" destOrd="0" presId="urn:microsoft.com/office/officeart/2005/8/layout/chevronAccent+Icon"/>
    <dgm:cxn modelId="{11CABE7D-19DE-4941-AF14-D150951580B6}" type="presParOf" srcId="{5ED28C6B-62F2-44F6-BA71-983BE40E7EE0}" destId="{0D75F9CE-34DF-4BE2-903F-FA376ABD6CE9}" srcOrd="7" destOrd="0" presId="urn:microsoft.com/office/officeart/2005/8/layout/chevronAccent+Icon"/>
    <dgm:cxn modelId="{DB54757D-87F9-4644-9ED4-03EA938F865D}" type="presParOf" srcId="{5ED28C6B-62F2-44F6-BA71-983BE40E7EE0}" destId="{5375C48F-50A5-496C-A1AE-63DE4DB4D867}" srcOrd="8" destOrd="0" presId="urn:microsoft.com/office/officeart/2005/8/layout/chevronAccent+Icon"/>
    <dgm:cxn modelId="{EB4F29AD-0559-46AF-970E-C6C348089063}" type="presParOf" srcId="{5375C48F-50A5-496C-A1AE-63DE4DB4D867}" destId="{994987C8-29A3-4B74-A19F-3F1C69B05CD6}" srcOrd="0" destOrd="0" presId="urn:microsoft.com/office/officeart/2005/8/layout/chevronAccent+Icon"/>
    <dgm:cxn modelId="{0F33DCBB-BA0F-48E2-A8F4-4385120B5C6B}" type="presParOf" srcId="{5375C48F-50A5-496C-A1AE-63DE4DB4D867}" destId="{17560946-5511-430A-807C-759B2888ED34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47D97E1-2B9E-4F21-AC72-7814EC633A1B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DE"/>
        </a:p>
      </dgm:t>
    </dgm:pt>
    <dgm:pt modelId="{21569B8E-9CB9-452E-BC59-AC391FD00031}">
      <dgm:prSet phldrT="[Text]" custT="1"/>
      <dgm:spPr/>
      <dgm:t>
        <a:bodyPr/>
        <a:lstStyle/>
        <a:p>
          <a:r>
            <a:rPr lang="en-US" sz="1000" b="1" dirty="0"/>
            <a:t>Helper</a:t>
          </a:r>
          <a:endParaRPr lang="en-DE" sz="1000" b="1" dirty="0"/>
        </a:p>
      </dgm:t>
    </dgm:pt>
    <dgm:pt modelId="{85E363A3-40CF-4DE5-B93D-2804536CFD17}" type="parTrans" cxnId="{0488B2F1-16E8-493A-AF02-423D368E2310}">
      <dgm:prSet/>
      <dgm:spPr/>
      <dgm:t>
        <a:bodyPr/>
        <a:lstStyle/>
        <a:p>
          <a:endParaRPr lang="en-DE"/>
        </a:p>
      </dgm:t>
    </dgm:pt>
    <dgm:pt modelId="{56F3E8A5-6EB4-4248-8DA0-54FE6335BCEB}" type="sibTrans" cxnId="{0488B2F1-16E8-493A-AF02-423D368E2310}">
      <dgm:prSet/>
      <dgm:spPr/>
      <dgm:t>
        <a:bodyPr/>
        <a:lstStyle/>
        <a:p>
          <a:endParaRPr lang="en-DE"/>
        </a:p>
      </dgm:t>
    </dgm:pt>
    <dgm:pt modelId="{3C1FB5CD-02E9-4328-B489-A5F36367810B}">
      <dgm:prSet phldrT="[Text]" custT="1"/>
      <dgm:spPr/>
      <dgm:t>
        <a:bodyPr/>
        <a:lstStyle/>
        <a:p>
          <a:r>
            <a:rPr lang="de-DE" sz="1100" b="0"/>
            <a:t>fetch_table</a:t>
          </a:r>
          <a:endParaRPr lang="en-DE" sz="1100" dirty="0"/>
        </a:p>
      </dgm:t>
    </dgm:pt>
    <dgm:pt modelId="{07906120-9E6B-4877-92C5-07ADE770D76A}" type="parTrans" cxnId="{BEED0954-245E-4B34-9D78-01115566B1C3}">
      <dgm:prSet/>
      <dgm:spPr/>
      <dgm:t>
        <a:bodyPr/>
        <a:lstStyle/>
        <a:p>
          <a:endParaRPr lang="en-DE"/>
        </a:p>
      </dgm:t>
    </dgm:pt>
    <dgm:pt modelId="{2CC70EAA-DC2A-430F-9E91-7529A50F4FF1}" type="sibTrans" cxnId="{BEED0954-245E-4B34-9D78-01115566B1C3}">
      <dgm:prSet/>
      <dgm:spPr/>
      <dgm:t>
        <a:bodyPr/>
        <a:lstStyle/>
        <a:p>
          <a:endParaRPr lang="en-DE"/>
        </a:p>
      </dgm:t>
    </dgm:pt>
    <dgm:pt modelId="{3FC9F5BA-9ABD-4AD1-90ED-61815BD41190}">
      <dgm:prSet phldrT="[Text]" custT="1"/>
      <dgm:spPr/>
      <dgm:t>
        <a:bodyPr/>
        <a:lstStyle/>
        <a:p>
          <a:r>
            <a:rPr lang="de-DE" sz="1100" b="0" dirty="0" err="1"/>
            <a:t>reshape_land_cover_data</a:t>
          </a:r>
          <a:endParaRPr lang="en-DE" sz="1100" dirty="0"/>
        </a:p>
      </dgm:t>
    </dgm:pt>
    <dgm:pt modelId="{5BB5EAD4-0F81-404E-9194-366B991D9A23}" type="parTrans" cxnId="{6227981C-2786-4033-8B82-54610C795321}">
      <dgm:prSet/>
      <dgm:spPr/>
      <dgm:t>
        <a:bodyPr/>
        <a:lstStyle/>
        <a:p>
          <a:endParaRPr lang="en-DE"/>
        </a:p>
      </dgm:t>
    </dgm:pt>
    <dgm:pt modelId="{5EFB9FAA-DF8E-47CF-94A2-4D6859BBCADF}" type="sibTrans" cxnId="{6227981C-2786-4033-8B82-54610C795321}">
      <dgm:prSet/>
      <dgm:spPr/>
      <dgm:t>
        <a:bodyPr/>
        <a:lstStyle/>
        <a:p>
          <a:endParaRPr lang="en-DE"/>
        </a:p>
      </dgm:t>
    </dgm:pt>
    <dgm:pt modelId="{A26A7F2F-77BB-4641-9ED6-923DD88734AD}">
      <dgm:prSet phldrT="[Text]" custT="1"/>
      <dgm:spPr/>
      <dgm:t>
        <a:bodyPr/>
        <a:lstStyle/>
        <a:p>
          <a:r>
            <a:rPr lang="de-DE" sz="1100" b="0"/>
            <a:t>prepare_data_for_maps</a:t>
          </a:r>
          <a:endParaRPr lang="en-DE" sz="1100" dirty="0"/>
        </a:p>
      </dgm:t>
    </dgm:pt>
    <dgm:pt modelId="{7F8D638B-DFF4-41B3-8380-F943F751179A}" type="parTrans" cxnId="{F8928184-77A4-4BF7-88E8-BC697A61B877}">
      <dgm:prSet/>
      <dgm:spPr/>
      <dgm:t>
        <a:bodyPr/>
        <a:lstStyle/>
        <a:p>
          <a:endParaRPr lang="en-DE"/>
        </a:p>
      </dgm:t>
    </dgm:pt>
    <dgm:pt modelId="{278C7CDF-53B1-4EF5-A4A7-047587F4407A}" type="sibTrans" cxnId="{F8928184-77A4-4BF7-88E8-BC697A61B877}">
      <dgm:prSet/>
      <dgm:spPr/>
      <dgm:t>
        <a:bodyPr/>
        <a:lstStyle/>
        <a:p>
          <a:endParaRPr lang="en-DE"/>
        </a:p>
      </dgm:t>
    </dgm:pt>
    <dgm:pt modelId="{55E3FD19-BE9B-4151-AB7C-A6E3DD0A89EB}">
      <dgm:prSet phldrT="[Text]" custT="1"/>
      <dgm:spPr/>
      <dgm:t>
        <a:bodyPr/>
        <a:lstStyle/>
        <a:p>
          <a:r>
            <a:rPr lang="de-DE" sz="1100" b="0"/>
            <a:t>aggregate_average_change</a:t>
          </a:r>
          <a:endParaRPr lang="en-DE" sz="1100" dirty="0"/>
        </a:p>
      </dgm:t>
    </dgm:pt>
    <dgm:pt modelId="{3A2B84AB-C3B8-4939-923A-CB4CCBDBEFD1}" type="parTrans" cxnId="{D9010E01-DBFC-4D11-8FD6-FF35FE679CCF}">
      <dgm:prSet/>
      <dgm:spPr/>
      <dgm:t>
        <a:bodyPr/>
        <a:lstStyle/>
        <a:p>
          <a:endParaRPr lang="en-DE"/>
        </a:p>
      </dgm:t>
    </dgm:pt>
    <dgm:pt modelId="{C2CCC94C-1B70-48A4-AF1C-57208A02D603}" type="sibTrans" cxnId="{D9010E01-DBFC-4D11-8FD6-FF35FE679CCF}">
      <dgm:prSet/>
      <dgm:spPr/>
      <dgm:t>
        <a:bodyPr/>
        <a:lstStyle/>
        <a:p>
          <a:endParaRPr lang="en-DE"/>
        </a:p>
      </dgm:t>
    </dgm:pt>
    <dgm:pt modelId="{200344E1-8D78-46AF-BBAA-35EAE19A9A5F}" type="pres">
      <dgm:prSet presAssocID="{B47D97E1-2B9E-4F21-AC72-7814EC633A1B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0BCC5EA-E36B-4B20-AF9B-950C49D95EE2}" type="pres">
      <dgm:prSet presAssocID="{21569B8E-9CB9-452E-BC59-AC391FD00031}" presName="centerShape" presStyleLbl="node0" presStyleIdx="0" presStyleCnt="1"/>
      <dgm:spPr/>
    </dgm:pt>
    <dgm:pt modelId="{D50290E8-6739-40C7-8EDE-2A4C7E0BCBFD}" type="pres">
      <dgm:prSet presAssocID="{07906120-9E6B-4877-92C5-07ADE770D76A}" presName="parTrans" presStyleLbl="bgSibTrans2D1" presStyleIdx="0" presStyleCnt="4"/>
      <dgm:spPr/>
    </dgm:pt>
    <dgm:pt modelId="{5F127E1A-8765-4443-A6FD-56D083C19E0B}" type="pres">
      <dgm:prSet presAssocID="{3C1FB5CD-02E9-4328-B489-A5F36367810B}" presName="node" presStyleLbl="node1" presStyleIdx="0" presStyleCnt="4">
        <dgm:presLayoutVars>
          <dgm:bulletEnabled val="1"/>
        </dgm:presLayoutVars>
      </dgm:prSet>
      <dgm:spPr/>
    </dgm:pt>
    <dgm:pt modelId="{A0A84648-39A8-4802-9A10-7E47E610847D}" type="pres">
      <dgm:prSet presAssocID="{7F8D638B-DFF4-41B3-8380-F943F751179A}" presName="parTrans" presStyleLbl="bgSibTrans2D1" presStyleIdx="1" presStyleCnt="4"/>
      <dgm:spPr/>
    </dgm:pt>
    <dgm:pt modelId="{63DDDFB0-3F44-40C8-91C8-D09E1FD7AD82}" type="pres">
      <dgm:prSet presAssocID="{A26A7F2F-77BB-4641-9ED6-923DD88734AD}" presName="node" presStyleLbl="node1" presStyleIdx="1" presStyleCnt="4">
        <dgm:presLayoutVars>
          <dgm:bulletEnabled val="1"/>
        </dgm:presLayoutVars>
      </dgm:prSet>
      <dgm:spPr/>
    </dgm:pt>
    <dgm:pt modelId="{EEE444AA-6D71-4573-BDE8-606EACC47028}" type="pres">
      <dgm:prSet presAssocID="{5BB5EAD4-0F81-404E-9194-366B991D9A23}" presName="parTrans" presStyleLbl="bgSibTrans2D1" presStyleIdx="2" presStyleCnt="4"/>
      <dgm:spPr/>
    </dgm:pt>
    <dgm:pt modelId="{8508EBEB-4ADF-4D9B-BF55-3E5027E3D08B}" type="pres">
      <dgm:prSet presAssocID="{3FC9F5BA-9ABD-4AD1-90ED-61815BD41190}" presName="node" presStyleLbl="node1" presStyleIdx="2" presStyleCnt="4">
        <dgm:presLayoutVars>
          <dgm:bulletEnabled val="1"/>
        </dgm:presLayoutVars>
      </dgm:prSet>
      <dgm:spPr/>
    </dgm:pt>
    <dgm:pt modelId="{3392AD28-E887-4309-870D-4D5EDAB2B251}" type="pres">
      <dgm:prSet presAssocID="{3A2B84AB-C3B8-4939-923A-CB4CCBDBEFD1}" presName="parTrans" presStyleLbl="bgSibTrans2D1" presStyleIdx="3" presStyleCnt="4"/>
      <dgm:spPr/>
    </dgm:pt>
    <dgm:pt modelId="{C925AC09-2D44-4C45-A0FB-26A62ECB6459}" type="pres">
      <dgm:prSet presAssocID="{55E3FD19-BE9B-4151-AB7C-A6E3DD0A89EB}" presName="node" presStyleLbl="node1" presStyleIdx="3" presStyleCnt="4">
        <dgm:presLayoutVars>
          <dgm:bulletEnabled val="1"/>
        </dgm:presLayoutVars>
      </dgm:prSet>
      <dgm:spPr/>
    </dgm:pt>
  </dgm:ptLst>
  <dgm:cxnLst>
    <dgm:cxn modelId="{D9010E01-DBFC-4D11-8FD6-FF35FE679CCF}" srcId="{21569B8E-9CB9-452E-BC59-AC391FD00031}" destId="{55E3FD19-BE9B-4151-AB7C-A6E3DD0A89EB}" srcOrd="3" destOrd="0" parTransId="{3A2B84AB-C3B8-4939-923A-CB4CCBDBEFD1}" sibTransId="{C2CCC94C-1B70-48A4-AF1C-57208A02D603}"/>
    <dgm:cxn modelId="{6227981C-2786-4033-8B82-54610C795321}" srcId="{21569B8E-9CB9-452E-BC59-AC391FD00031}" destId="{3FC9F5BA-9ABD-4AD1-90ED-61815BD41190}" srcOrd="2" destOrd="0" parTransId="{5BB5EAD4-0F81-404E-9194-366B991D9A23}" sibTransId="{5EFB9FAA-DF8E-47CF-94A2-4D6859BBCADF}"/>
    <dgm:cxn modelId="{619C5520-12DF-47DC-98E4-384FA3D5196D}" type="presOf" srcId="{3A2B84AB-C3B8-4939-923A-CB4CCBDBEFD1}" destId="{3392AD28-E887-4309-870D-4D5EDAB2B251}" srcOrd="0" destOrd="0" presId="urn:microsoft.com/office/officeart/2005/8/layout/radial4"/>
    <dgm:cxn modelId="{55E3BF23-B1CD-43D4-ABFA-C59E39C6ABAE}" type="presOf" srcId="{3FC9F5BA-9ABD-4AD1-90ED-61815BD41190}" destId="{8508EBEB-4ADF-4D9B-BF55-3E5027E3D08B}" srcOrd="0" destOrd="0" presId="urn:microsoft.com/office/officeart/2005/8/layout/radial4"/>
    <dgm:cxn modelId="{85E5AB70-7722-4C12-A651-A0AF343127AE}" type="presOf" srcId="{A26A7F2F-77BB-4641-9ED6-923DD88734AD}" destId="{63DDDFB0-3F44-40C8-91C8-D09E1FD7AD82}" srcOrd="0" destOrd="0" presId="urn:microsoft.com/office/officeart/2005/8/layout/radial4"/>
    <dgm:cxn modelId="{BEED0954-245E-4B34-9D78-01115566B1C3}" srcId="{21569B8E-9CB9-452E-BC59-AC391FD00031}" destId="{3C1FB5CD-02E9-4328-B489-A5F36367810B}" srcOrd="0" destOrd="0" parTransId="{07906120-9E6B-4877-92C5-07ADE770D76A}" sibTransId="{2CC70EAA-DC2A-430F-9E91-7529A50F4FF1}"/>
    <dgm:cxn modelId="{C3962684-F368-4494-9BA2-D82C45AC2EB7}" type="presOf" srcId="{3C1FB5CD-02E9-4328-B489-A5F36367810B}" destId="{5F127E1A-8765-4443-A6FD-56D083C19E0B}" srcOrd="0" destOrd="0" presId="urn:microsoft.com/office/officeart/2005/8/layout/radial4"/>
    <dgm:cxn modelId="{F8928184-77A4-4BF7-88E8-BC697A61B877}" srcId="{21569B8E-9CB9-452E-BC59-AC391FD00031}" destId="{A26A7F2F-77BB-4641-9ED6-923DD88734AD}" srcOrd="1" destOrd="0" parTransId="{7F8D638B-DFF4-41B3-8380-F943F751179A}" sibTransId="{278C7CDF-53B1-4EF5-A4A7-047587F4407A}"/>
    <dgm:cxn modelId="{889B39BA-7B3B-4277-98B8-D45AFA61AE4C}" type="presOf" srcId="{5BB5EAD4-0F81-404E-9194-366B991D9A23}" destId="{EEE444AA-6D71-4573-BDE8-606EACC47028}" srcOrd="0" destOrd="0" presId="urn:microsoft.com/office/officeart/2005/8/layout/radial4"/>
    <dgm:cxn modelId="{035642C4-D333-4117-B398-2C358FEAC387}" type="presOf" srcId="{21569B8E-9CB9-452E-BC59-AC391FD00031}" destId="{90BCC5EA-E36B-4B20-AF9B-950C49D95EE2}" srcOrd="0" destOrd="0" presId="urn:microsoft.com/office/officeart/2005/8/layout/radial4"/>
    <dgm:cxn modelId="{673830D7-225F-4A44-B6A5-84C2534AB414}" type="presOf" srcId="{B47D97E1-2B9E-4F21-AC72-7814EC633A1B}" destId="{200344E1-8D78-46AF-BBAA-35EAE19A9A5F}" srcOrd="0" destOrd="0" presId="urn:microsoft.com/office/officeart/2005/8/layout/radial4"/>
    <dgm:cxn modelId="{3CFED6E8-F502-460D-832A-B9ECBC35AC05}" type="presOf" srcId="{55E3FD19-BE9B-4151-AB7C-A6E3DD0A89EB}" destId="{C925AC09-2D44-4C45-A0FB-26A62ECB6459}" srcOrd="0" destOrd="0" presId="urn:microsoft.com/office/officeart/2005/8/layout/radial4"/>
    <dgm:cxn modelId="{2733CAEB-AB91-463F-AB3C-B2CFC4D2447A}" type="presOf" srcId="{07906120-9E6B-4877-92C5-07ADE770D76A}" destId="{D50290E8-6739-40C7-8EDE-2A4C7E0BCBFD}" srcOrd="0" destOrd="0" presId="urn:microsoft.com/office/officeart/2005/8/layout/radial4"/>
    <dgm:cxn modelId="{5ACF3DED-13D3-4278-85F2-93771FC40EBA}" type="presOf" srcId="{7F8D638B-DFF4-41B3-8380-F943F751179A}" destId="{A0A84648-39A8-4802-9A10-7E47E610847D}" srcOrd="0" destOrd="0" presId="urn:microsoft.com/office/officeart/2005/8/layout/radial4"/>
    <dgm:cxn modelId="{0488B2F1-16E8-493A-AF02-423D368E2310}" srcId="{B47D97E1-2B9E-4F21-AC72-7814EC633A1B}" destId="{21569B8E-9CB9-452E-BC59-AC391FD00031}" srcOrd="0" destOrd="0" parTransId="{85E363A3-40CF-4DE5-B93D-2804536CFD17}" sibTransId="{56F3E8A5-6EB4-4248-8DA0-54FE6335BCEB}"/>
    <dgm:cxn modelId="{A6C15E5A-910C-4A2B-8CE4-00F44C123BE3}" type="presParOf" srcId="{200344E1-8D78-46AF-BBAA-35EAE19A9A5F}" destId="{90BCC5EA-E36B-4B20-AF9B-950C49D95EE2}" srcOrd="0" destOrd="0" presId="urn:microsoft.com/office/officeart/2005/8/layout/radial4"/>
    <dgm:cxn modelId="{CB520434-BCF9-4C4E-A2D5-12465B4743E1}" type="presParOf" srcId="{200344E1-8D78-46AF-BBAA-35EAE19A9A5F}" destId="{D50290E8-6739-40C7-8EDE-2A4C7E0BCBFD}" srcOrd="1" destOrd="0" presId="urn:microsoft.com/office/officeart/2005/8/layout/radial4"/>
    <dgm:cxn modelId="{991E9B97-044F-47CD-A7D3-4620B39DF790}" type="presParOf" srcId="{200344E1-8D78-46AF-BBAA-35EAE19A9A5F}" destId="{5F127E1A-8765-4443-A6FD-56D083C19E0B}" srcOrd="2" destOrd="0" presId="urn:microsoft.com/office/officeart/2005/8/layout/radial4"/>
    <dgm:cxn modelId="{384DEC28-A02C-40AA-9D73-1501297954A1}" type="presParOf" srcId="{200344E1-8D78-46AF-BBAA-35EAE19A9A5F}" destId="{A0A84648-39A8-4802-9A10-7E47E610847D}" srcOrd="3" destOrd="0" presId="urn:microsoft.com/office/officeart/2005/8/layout/radial4"/>
    <dgm:cxn modelId="{63B63EA8-BF6D-4A93-9B94-BDE488807078}" type="presParOf" srcId="{200344E1-8D78-46AF-BBAA-35EAE19A9A5F}" destId="{63DDDFB0-3F44-40C8-91C8-D09E1FD7AD82}" srcOrd="4" destOrd="0" presId="urn:microsoft.com/office/officeart/2005/8/layout/radial4"/>
    <dgm:cxn modelId="{C3134E01-CA0E-49B5-A40F-4334B6517933}" type="presParOf" srcId="{200344E1-8D78-46AF-BBAA-35EAE19A9A5F}" destId="{EEE444AA-6D71-4573-BDE8-606EACC47028}" srcOrd="5" destOrd="0" presId="urn:microsoft.com/office/officeart/2005/8/layout/radial4"/>
    <dgm:cxn modelId="{3761E955-1FDB-4A83-8911-30FEC0073A51}" type="presParOf" srcId="{200344E1-8D78-46AF-BBAA-35EAE19A9A5F}" destId="{8508EBEB-4ADF-4D9B-BF55-3E5027E3D08B}" srcOrd="6" destOrd="0" presId="urn:microsoft.com/office/officeart/2005/8/layout/radial4"/>
    <dgm:cxn modelId="{F0BC2A4F-901A-4983-A9F1-0179C374F9B2}" type="presParOf" srcId="{200344E1-8D78-46AF-BBAA-35EAE19A9A5F}" destId="{3392AD28-E887-4309-870D-4D5EDAB2B251}" srcOrd="7" destOrd="0" presId="urn:microsoft.com/office/officeart/2005/8/layout/radial4"/>
    <dgm:cxn modelId="{E08F3495-4A8D-4277-8676-298ABCF600D3}" type="presParOf" srcId="{200344E1-8D78-46AF-BBAA-35EAE19A9A5F}" destId="{C925AC09-2D44-4C45-A0FB-26A62ECB6459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47D97E1-2B9E-4F21-AC72-7814EC633A1B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DE"/>
        </a:p>
      </dgm:t>
    </dgm:pt>
    <dgm:pt modelId="{21569B8E-9CB9-452E-BC59-AC391FD00031}">
      <dgm:prSet phldrT="[Text]" custT="1"/>
      <dgm:spPr/>
      <dgm:t>
        <a:bodyPr/>
        <a:lstStyle/>
        <a:p>
          <a:r>
            <a:rPr lang="en-US" sz="1000" b="1" dirty="0"/>
            <a:t>Visualization</a:t>
          </a:r>
          <a:endParaRPr lang="en-DE" sz="1000" b="1" dirty="0"/>
        </a:p>
      </dgm:t>
    </dgm:pt>
    <dgm:pt modelId="{85E363A3-40CF-4DE5-B93D-2804536CFD17}" type="parTrans" cxnId="{0488B2F1-16E8-493A-AF02-423D368E2310}">
      <dgm:prSet/>
      <dgm:spPr/>
      <dgm:t>
        <a:bodyPr/>
        <a:lstStyle/>
        <a:p>
          <a:endParaRPr lang="en-DE"/>
        </a:p>
      </dgm:t>
    </dgm:pt>
    <dgm:pt modelId="{56F3E8A5-6EB4-4248-8DA0-54FE6335BCEB}" type="sibTrans" cxnId="{0488B2F1-16E8-493A-AF02-423D368E2310}">
      <dgm:prSet/>
      <dgm:spPr/>
      <dgm:t>
        <a:bodyPr/>
        <a:lstStyle/>
        <a:p>
          <a:endParaRPr lang="en-DE"/>
        </a:p>
      </dgm:t>
    </dgm:pt>
    <dgm:pt modelId="{3C1FB5CD-02E9-4328-B489-A5F36367810B}">
      <dgm:prSet phldrT="[Text]" custT="1"/>
      <dgm:spPr/>
      <dgm:t>
        <a:bodyPr/>
        <a:lstStyle/>
        <a:p>
          <a:r>
            <a:rPr lang="de-DE" sz="1100" b="0"/>
            <a:t>plot_average_value_map</a:t>
          </a:r>
          <a:endParaRPr lang="en-DE" sz="1100" dirty="0"/>
        </a:p>
      </dgm:t>
    </dgm:pt>
    <dgm:pt modelId="{07906120-9E6B-4877-92C5-07ADE770D76A}" type="parTrans" cxnId="{BEED0954-245E-4B34-9D78-01115566B1C3}">
      <dgm:prSet/>
      <dgm:spPr/>
      <dgm:t>
        <a:bodyPr/>
        <a:lstStyle/>
        <a:p>
          <a:endParaRPr lang="en-DE"/>
        </a:p>
      </dgm:t>
    </dgm:pt>
    <dgm:pt modelId="{2CC70EAA-DC2A-430F-9E91-7529A50F4FF1}" type="sibTrans" cxnId="{BEED0954-245E-4B34-9D78-01115566B1C3}">
      <dgm:prSet/>
      <dgm:spPr/>
      <dgm:t>
        <a:bodyPr/>
        <a:lstStyle/>
        <a:p>
          <a:endParaRPr lang="en-DE"/>
        </a:p>
      </dgm:t>
    </dgm:pt>
    <dgm:pt modelId="{3FC9F5BA-9ABD-4AD1-90ED-61815BD41190}">
      <dgm:prSet phldrT="[Text]" custT="1"/>
      <dgm:spPr/>
      <dgm:t>
        <a:bodyPr/>
        <a:lstStyle/>
        <a:p>
          <a:r>
            <a:rPr lang="de-DE" sz="1100" b="0"/>
            <a:t>plot_average_change</a:t>
          </a:r>
          <a:endParaRPr lang="en-DE" sz="1100" dirty="0"/>
        </a:p>
      </dgm:t>
    </dgm:pt>
    <dgm:pt modelId="{5BB5EAD4-0F81-404E-9194-366B991D9A23}" type="parTrans" cxnId="{6227981C-2786-4033-8B82-54610C795321}">
      <dgm:prSet/>
      <dgm:spPr/>
      <dgm:t>
        <a:bodyPr/>
        <a:lstStyle/>
        <a:p>
          <a:endParaRPr lang="en-DE"/>
        </a:p>
      </dgm:t>
    </dgm:pt>
    <dgm:pt modelId="{5EFB9FAA-DF8E-47CF-94A2-4D6859BBCADF}" type="sibTrans" cxnId="{6227981C-2786-4033-8B82-54610C795321}">
      <dgm:prSet/>
      <dgm:spPr/>
      <dgm:t>
        <a:bodyPr/>
        <a:lstStyle/>
        <a:p>
          <a:endParaRPr lang="en-DE"/>
        </a:p>
      </dgm:t>
    </dgm:pt>
    <dgm:pt modelId="{A26A7F2F-77BB-4641-9ED6-923DD88734AD}">
      <dgm:prSet phldrT="[Text]" custT="1"/>
      <dgm:spPr/>
      <dgm:t>
        <a:bodyPr/>
        <a:lstStyle/>
        <a:p>
          <a:r>
            <a:rPr lang="de-DE" sz="1100" b="0"/>
            <a:t>plot_column_over_time</a:t>
          </a:r>
          <a:endParaRPr lang="en-DE" sz="1100" dirty="0"/>
        </a:p>
      </dgm:t>
    </dgm:pt>
    <dgm:pt modelId="{7F8D638B-DFF4-41B3-8380-F943F751179A}" type="parTrans" cxnId="{F8928184-77A4-4BF7-88E8-BC697A61B877}">
      <dgm:prSet/>
      <dgm:spPr/>
      <dgm:t>
        <a:bodyPr/>
        <a:lstStyle/>
        <a:p>
          <a:endParaRPr lang="en-DE"/>
        </a:p>
      </dgm:t>
    </dgm:pt>
    <dgm:pt modelId="{278C7CDF-53B1-4EF5-A4A7-047587F4407A}" type="sibTrans" cxnId="{F8928184-77A4-4BF7-88E8-BC697A61B877}">
      <dgm:prSet/>
      <dgm:spPr/>
      <dgm:t>
        <a:bodyPr/>
        <a:lstStyle/>
        <a:p>
          <a:endParaRPr lang="en-DE"/>
        </a:p>
      </dgm:t>
    </dgm:pt>
    <dgm:pt modelId="{55E3FD19-BE9B-4151-AB7C-A6E3DD0A89EB}">
      <dgm:prSet phldrT="[Text]" custT="1"/>
      <dgm:spPr/>
      <dgm:t>
        <a:bodyPr/>
        <a:lstStyle/>
        <a:p>
          <a:r>
            <a:rPr lang="de-DE" sz="1100" b="0" dirty="0" err="1"/>
            <a:t>plot_scatter</a:t>
          </a:r>
          <a:endParaRPr lang="en-DE" sz="1100" dirty="0"/>
        </a:p>
      </dgm:t>
    </dgm:pt>
    <dgm:pt modelId="{3A2B84AB-C3B8-4939-923A-CB4CCBDBEFD1}" type="parTrans" cxnId="{D9010E01-DBFC-4D11-8FD6-FF35FE679CCF}">
      <dgm:prSet/>
      <dgm:spPr/>
      <dgm:t>
        <a:bodyPr/>
        <a:lstStyle/>
        <a:p>
          <a:endParaRPr lang="en-DE"/>
        </a:p>
      </dgm:t>
    </dgm:pt>
    <dgm:pt modelId="{C2CCC94C-1B70-48A4-AF1C-57208A02D603}" type="sibTrans" cxnId="{D9010E01-DBFC-4D11-8FD6-FF35FE679CCF}">
      <dgm:prSet/>
      <dgm:spPr/>
      <dgm:t>
        <a:bodyPr/>
        <a:lstStyle/>
        <a:p>
          <a:endParaRPr lang="en-DE"/>
        </a:p>
      </dgm:t>
    </dgm:pt>
    <dgm:pt modelId="{200344E1-8D78-46AF-BBAA-35EAE19A9A5F}" type="pres">
      <dgm:prSet presAssocID="{B47D97E1-2B9E-4F21-AC72-7814EC633A1B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0BCC5EA-E36B-4B20-AF9B-950C49D95EE2}" type="pres">
      <dgm:prSet presAssocID="{21569B8E-9CB9-452E-BC59-AC391FD00031}" presName="centerShape" presStyleLbl="node0" presStyleIdx="0" presStyleCnt="1"/>
      <dgm:spPr/>
    </dgm:pt>
    <dgm:pt modelId="{D50290E8-6739-40C7-8EDE-2A4C7E0BCBFD}" type="pres">
      <dgm:prSet presAssocID="{07906120-9E6B-4877-92C5-07ADE770D76A}" presName="parTrans" presStyleLbl="bgSibTrans2D1" presStyleIdx="0" presStyleCnt="4"/>
      <dgm:spPr/>
    </dgm:pt>
    <dgm:pt modelId="{5F127E1A-8765-4443-A6FD-56D083C19E0B}" type="pres">
      <dgm:prSet presAssocID="{3C1FB5CD-02E9-4328-B489-A5F36367810B}" presName="node" presStyleLbl="node1" presStyleIdx="0" presStyleCnt="4">
        <dgm:presLayoutVars>
          <dgm:bulletEnabled val="1"/>
        </dgm:presLayoutVars>
      </dgm:prSet>
      <dgm:spPr/>
    </dgm:pt>
    <dgm:pt modelId="{A0A84648-39A8-4802-9A10-7E47E610847D}" type="pres">
      <dgm:prSet presAssocID="{7F8D638B-DFF4-41B3-8380-F943F751179A}" presName="parTrans" presStyleLbl="bgSibTrans2D1" presStyleIdx="1" presStyleCnt="4"/>
      <dgm:spPr/>
    </dgm:pt>
    <dgm:pt modelId="{63DDDFB0-3F44-40C8-91C8-D09E1FD7AD82}" type="pres">
      <dgm:prSet presAssocID="{A26A7F2F-77BB-4641-9ED6-923DD88734AD}" presName="node" presStyleLbl="node1" presStyleIdx="1" presStyleCnt="4">
        <dgm:presLayoutVars>
          <dgm:bulletEnabled val="1"/>
        </dgm:presLayoutVars>
      </dgm:prSet>
      <dgm:spPr/>
    </dgm:pt>
    <dgm:pt modelId="{EEE444AA-6D71-4573-BDE8-606EACC47028}" type="pres">
      <dgm:prSet presAssocID="{5BB5EAD4-0F81-404E-9194-366B991D9A23}" presName="parTrans" presStyleLbl="bgSibTrans2D1" presStyleIdx="2" presStyleCnt="4"/>
      <dgm:spPr/>
    </dgm:pt>
    <dgm:pt modelId="{8508EBEB-4ADF-4D9B-BF55-3E5027E3D08B}" type="pres">
      <dgm:prSet presAssocID="{3FC9F5BA-9ABD-4AD1-90ED-61815BD41190}" presName="node" presStyleLbl="node1" presStyleIdx="2" presStyleCnt="4">
        <dgm:presLayoutVars>
          <dgm:bulletEnabled val="1"/>
        </dgm:presLayoutVars>
      </dgm:prSet>
      <dgm:spPr/>
    </dgm:pt>
    <dgm:pt modelId="{3392AD28-E887-4309-870D-4D5EDAB2B251}" type="pres">
      <dgm:prSet presAssocID="{3A2B84AB-C3B8-4939-923A-CB4CCBDBEFD1}" presName="parTrans" presStyleLbl="bgSibTrans2D1" presStyleIdx="3" presStyleCnt="4"/>
      <dgm:spPr/>
    </dgm:pt>
    <dgm:pt modelId="{C925AC09-2D44-4C45-A0FB-26A62ECB6459}" type="pres">
      <dgm:prSet presAssocID="{55E3FD19-BE9B-4151-AB7C-A6E3DD0A89EB}" presName="node" presStyleLbl="node1" presStyleIdx="3" presStyleCnt="4">
        <dgm:presLayoutVars>
          <dgm:bulletEnabled val="1"/>
        </dgm:presLayoutVars>
      </dgm:prSet>
      <dgm:spPr/>
    </dgm:pt>
  </dgm:ptLst>
  <dgm:cxnLst>
    <dgm:cxn modelId="{D9010E01-DBFC-4D11-8FD6-FF35FE679CCF}" srcId="{21569B8E-9CB9-452E-BC59-AC391FD00031}" destId="{55E3FD19-BE9B-4151-AB7C-A6E3DD0A89EB}" srcOrd="3" destOrd="0" parTransId="{3A2B84AB-C3B8-4939-923A-CB4CCBDBEFD1}" sibTransId="{C2CCC94C-1B70-48A4-AF1C-57208A02D603}"/>
    <dgm:cxn modelId="{6227981C-2786-4033-8B82-54610C795321}" srcId="{21569B8E-9CB9-452E-BC59-AC391FD00031}" destId="{3FC9F5BA-9ABD-4AD1-90ED-61815BD41190}" srcOrd="2" destOrd="0" parTransId="{5BB5EAD4-0F81-404E-9194-366B991D9A23}" sibTransId="{5EFB9FAA-DF8E-47CF-94A2-4D6859BBCADF}"/>
    <dgm:cxn modelId="{619C5520-12DF-47DC-98E4-384FA3D5196D}" type="presOf" srcId="{3A2B84AB-C3B8-4939-923A-CB4CCBDBEFD1}" destId="{3392AD28-E887-4309-870D-4D5EDAB2B251}" srcOrd="0" destOrd="0" presId="urn:microsoft.com/office/officeart/2005/8/layout/radial4"/>
    <dgm:cxn modelId="{55E3BF23-B1CD-43D4-ABFA-C59E39C6ABAE}" type="presOf" srcId="{3FC9F5BA-9ABD-4AD1-90ED-61815BD41190}" destId="{8508EBEB-4ADF-4D9B-BF55-3E5027E3D08B}" srcOrd="0" destOrd="0" presId="urn:microsoft.com/office/officeart/2005/8/layout/radial4"/>
    <dgm:cxn modelId="{85E5AB70-7722-4C12-A651-A0AF343127AE}" type="presOf" srcId="{A26A7F2F-77BB-4641-9ED6-923DD88734AD}" destId="{63DDDFB0-3F44-40C8-91C8-D09E1FD7AD82}" srcOrd="0" destOrd="0" presId="urn:microsoft.com/office/officeart/2005/8/layout/radial4"/>
    <dgm:cxn modelId="{BEED0954-245E-4B34-9D78-01115566B1C3}" srcId="{21569B8E-9CB9-452E-BC59-AC391FD00031}" destId="{3C1FB5CD-02E9-4328-B489-A5F36367810B}" srcOrd="0" destOrd="0" parTransId="{07906120-9E6B-4877-92C5-07ADE770D76A}" sibTransId="{2CC70EAA-DC2A-430F-9E91-7529A50F4FF1}"/>
    <dgm:cxn modelId="{C3962684-F368-4494-9BA2-D82C45AC2EB7}" type="presOf" srcId="{3C1FB5CD-02E9-4328-B489-A5F36367810B}" destId="{5F127E1A-8765-4443-A6FD-56D083C19E0B}" srcOrd="0" destOrd="0" presId="urn:microsoft.com/office/officeart/2005/8/layout/radial4"/>
    <dgm:cxn modelId="{F8928184-77A4-4BF7-88E8-BC697A61B877}" srcId="{21569B8E-9CB9-452E-BC59-AC391FD00031}" destId="{A26A7F2F-77BB-4641-9ED6-923DD88734AD}" srcOrd="1" destOrd="0" parTransId="{7F8D638B-DFF4-41B3-8380-F943F751179A}" sibTransId="{278C7CDF-53B1-4EF5-A4A7-047587F4407A}"/>
    <dgm:cxn modelId="{889B39BA-7B3B-4277-98B8-D45AFA61AE4C}" type="presOf" srcId="{5BB5EAD4-0F81-404E-9194-366B991D9A23}" destId="{EEE444AA-6D71-4573-BDE8-606EACC47028}" srcOrd="0" destOrd="0" presId="urn:microsoft.com/office/officeart/2005/8/layout/radial4"/>
    <dgm:cxn modelId="{035642C4-D333-4117-B398-2C358FEAC387}" type="presOf" srcId="{21569B8E-9CB9-452E-BC59-AC391FD00031}" destId="{90BCC5EA-E36B-4B20-AF9B-950C49D95EE2}" srcOrd="0" destOrd="0" presId="urn:microsoft.com/office/officeart/2005/8/layout/radial4"/>
    <dgm:cxn modelId="{673830D7-225F-4A44-B6A5-84C2534AB414}" type="presOf" srcId="{B47D97E1-2B9E-4F21-AC72-7814EC633A1B}" destId="{200344E1-8D78-46AF-BBAA-35EAE19A9A5F}" srcOrd="0" destOrd="0" presId="urn:microsoft.com/office/officeart/2005/8/layout/radial4"/>
    <dgm:cxn modelId="{3CFED6E8-F502-460D-832A-B9ECBC35AC05}" type="presOf" srcId="{55E3FD19-BE9B-4151-AB7C-A6E3DD0A89EB}" destId="{C925AC09-2D44-4C45-A0FB-26A62ECB6459}" srcOrd="0" destOrd="0" presId="urn:microsoft.com/office/officeart/2005/8/layout/radial4"/>
    <dgm:cxn modelId="{2733CAEB-AB91-463F-AB3C-B2CFC4D2447A}" type="presOf" srcId="{07906120-9E6B-4877-92C5-07ADE770D76A}" destId="{D50290E8-6739-40C7-8EDE-2A4C7E0BCBFD}" srcOrd="0" destOrd="0" presId="urn:microsoft.com/office/officeart/2005/8/layout/radial4"/>
    <dgm:cxn modelId="{5ACF3DED-13D3-4278-85F2-93771FC40EBA}" type="presOf" srcId="{7F8D638B-DFF4-41B3-8380-F943F751179A}" destId="{A0A84648-39A8-4802-9A10-7E47E610847D}" srcOrd="0" destOrd="0" presId="urn:microsoft.com/office/officeart/2005/8/layout/radial4"/>
    <dgm:cxn modelId="{0488B2F1-16E8-493A-AF02-423D368E2310}" srcId="{B47D97E1-2B9E-4F21-AC72-7814EC633A1B}" destId="{21569B8E-9CB9-452E-BC59-AC391FD00031}" srcOrd="0" destOrd="0" parTransId="{85E363A3-40CF-4DE5-B93D-2804536CFD17}" sibTransId="{56F3E8A5-6EB4-4248-8DA0-54FE6335BCEB}"/>
    <dgm:cxn modelId="{A6C15E5A-910C-4A2B-8CE4-00F44C123BE3}" type="presParOf" srcId="{200344E1-8D78-46AF-BBAA-35EAE19A9A5F}" destId="{90BCC5EA-E36B-4B20-AF9B-950C49D95EE2}" srcOrd="0" destOrd="0" presId="urn:microsoft.com/office/officeart/2005/8/layout/radial4"/>
    <dgm:cxn modelId="{CB520434-BCF9-4C4E-A2D5-12465B4743E1}" type="presParOf" srcId="{200344E1-8D78-46AF-BBAA-35EAE19A9A5F}" destId="{D50290E8-6739-40C7-8EDE-2A4C7E0BCBFD}" srcOrd="1" destOrd="0" presId="urn:microsoft.com/office/officeart/2005/8/layout/radial4"/>
    <dgm:cxn modelId="{991E9B97-044F-47CD-A7D3-4620B39DF790}" type="presParOf" srcId="{200344E1-8D78-46AF-BBAA-35EAE19A9A5F}" destId="{5F127E1A-8765-4443-A6FD-56D083C19E0B}" srcOrd="2" destOrd="0" presId="urn:microsoft.com/office/officeart/2005/8/layout/radial4"/>
    <dgm:cxn modelId="{384DEC28-A02C-40AA-9D73-1501297954A1}" type="presParOf" srcId="{200344E1-8D78-46AF-BBAA-35EAE19A9A5F}" destId="{A0A84648-39A8-4802-9A10-7E47E610847D}" srcOrd="3" destOrd="0" presId="urn:microsoft.com/office/officeart/2005/8/layout/radial4"/>
    <dgm:cxn modelId="{63B63EA8-BF6D-4A93-9B94-BDE488807078}" type="presParOf" srcId="{200344E1-8D78-46AF-BBAA-35EAE19A9A5F}" destId="{63DDDFB0-3F44-40C8-91C8-D09E1FD7AD82}" srcOrd="4" destOrd="0" presId="urn:microsoft.com/office/officeart/2005/8/layout/radial4"/>
    <dgm:cxn modelId="{C3134E01-CA0E-49B5-A40F-4334B6517933}" type="presParOf" srcId="{200344E1-8D78-46AF-BBAA-35EAE19A9A5F}" destId="{EEE444AA-6D71-4573-BDE8-606EACC47028}" srcOrd="5" destOrd="0" presId="urn:microsoft.com/office/officeart/2005/8/layout/radial4"/>
    <dgm:cxn modelId="{3761E955-1FDB-4A83-8911-30FEC0073A51}" type="presParOf" srcId="{200344E1-8D78-46AF-BBAA-35EAE19A9A5F}" destId="{8508EBEB-4ADF-4D9B-BF55-3E5027E3D08B}" srcOrd="6" destOrd="0" presId="urn:microsoft.com/office/officeart/2005/8/layout/radial4"/>
    <dgm:cxn modelId="{F0BC2A4F-901A-4983-A9F1-0179C374F9B2}" type="presParOf" srcId="{200344E1-8D78-46AF-BBAA-35EAE19A9A5F}" destId="{3392AD28-E887-4309-870D-4D5EDAB2B251}" srcOrd="7" destOrd="0" presId="urn:microsoft.com/office/officeart/2005/8/layout/radial4"/>
    <dgm:cxn modelId="{E08F3495-4A8D-4277-8676-298ABCF600D3}" type="presParOf" srcId="{200344E1-8D78-46AF-BBAA-35EAE19A9A5F}" destId="{C925AC09-2D44-4C45-A0FB-26A62ECB6459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47D97E1-2B9E-4F21-AC72-7814EC633A1B}" type="doc">
      <dgm:prSet loTypeId="urn:microsoft.com/office/officeart/2008/layout/Radial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DE"/>
        </a:p>
      </dgm:t>
    </dgm:pt>
    <dgm:pt modelId="{21569B8E-9CB9-452E-BC59-AC391FD00031}">
      <dgm:prSet phldrT="[Text]" custT="1"/>
      <dgm:spPr/>
      <dgm:t>
        <a:bodyPr/>
        <a:lstStyle/>
        <a:p>
          <a:r>
            <a:rPr lang="en-US" sz="1000" b="1" dirty="0"/>
            <a:t>CI</a:t>
          </a:r>
          <a:endParaRPr lang="en-DE" sz="1000" b="1" dirty="0"/>
        </a:p>
      </dgm:t>
    </dgm:pt>
    <dgm:pt modelId="{85E363A3-40CF-4DE5-B93D-2804536CFD17}" type="parTrans" cxnId="{0488B2F1-16E8-493A-AF02-423D368E2310}">
      <dgm:prSet/>
      <dgm:spPr/>
      <dgm:t>
        <a:bodyPr/>
        <a:lstStyle/>
        <a:p>
          <a:endParaRPr lang="en-DE"/>
        </a:p>
      </dgm:t>
    </dgm:pt>
    <dgm:pt modelId="{56F3E8A5-6EB4-4248-8DA0-54FE6335BCEB}" type="sibTrans" cxnId="{0488B2F1-16E8-493A-AF02-423D368E2310}">
      <dgm:prSet/>
      <dgm:spPr/>
      <dgm:t>
        <a:bodyPr/>
        <a:lstStyle/>
        <a:p>
          <a:endParaRPr lang="en-DE"/>
        </a:p>
      </dgm:t>
    </dgm:pt>
    <dgm:pt modelId="{3C1FB5CD-02E9-4328-B489-A5F36367810B}">
      <dgm:prSet phldrT="[Text]" custT="1"/>
      <dgm:spPr/>
      <dgm:t>
        <a:bodyPr/>
        <a:lstStyle/>
        <a:p>
          <a:r>
            <a:rPr lang="de-DE" sz="1100" b="0" dirty="0"/>
            <a:t>Tests (</a:t>
          </a:r>
          <a:r>
            <a:rPr lang="de-DE" sz="1100" b="0" dirty="0" err="1"/>
            <a:t>Pytests</a:t>
          </a:r>
          <a:r>
            <a:rPr lang="de-DE" sz="1100" b="0" dirty="0"/>
            <a:t>)</a:t>
          </a:r>
          <a:endParaRPr lang="en-DE" sz="1100" dirty="0"/>
        </a:p>
      </dgm:t>
    </dgm:pt>
    <dgm:pt modelId="{07906120-9E6B-4877-92C5-07ADE770D76A}" type="parTrans" cxnId="{BEED0954-245E-4B34-9D78-01115566B1C3}">
      <dgm:prSet/>
      <dgm:spPr/>
      <dgm:t>
        <a:bodyPr/>
        <a:lstStyle/>
        <a:p>
          <a:endParaRPr lang="en-DE"/>
        </a:p>
      </dgm:t>
    </dgm:pt>
    <dgm:pt modelId="{2CC70EAA-DC2A-430F-9E91-7529A50F4FF1}" type="sibTrans" cxnId="{BEED0954-245E-4B34-9D78-01115566B1C3}">
      <dgm:prSet/>
      <dgm:spPr/>
      <dgm:t>
        <a:bodyPr/>
        <a:lstStyle/>
        <a:p>
          <a:endParaRPr lang="en-DE"/>
        </a:p>
      </dgm:t>
    </dgm:pt>
    <dgm:pt modelId="{7516BC7D-B1E7-4DC2-A203-A5BD42AB29B5}">
      <dgm:prSet phldrT="[Text]" custT="1"/>
      <dgm:spPr/>
      <dgm:t>
        <a:bodyPr/>
        <a:lstStyle/>
        <a:p>
          <a:r>
            <a:rPr lang="en-US" sz="1100" dirty="0"/>
            <a:t>Code Quality Checks</a:t>
          </a:r>
          <a:endParaRPr lang="en-DE" sz="1100" dirty="0"/>
        </a:p>
      </dgm:t>
    </dgm:pt>
    <dgm:pt modelId="{EB046F6C-3055-41BB-BC34-F8FDEBA621A3}" type="parTrans" cxnId="{9E512815-EA6E-4972-99F2-E08BAA1D40DC}">
      <dgm:prSet/>
      <dgm:spPr/>
      <dgm:t>
        <a:bodyPr/>
        <a:lstStyle/>
        <a:p>
          <a:endParaRPr lang="en-DE"/>
        </a:p>
      </dgm:t>
    </dgm:pt>
    <dgm:pt modelId="{8EEC361D-DDB7-4E98-8E28-402908740C53}" type="sibTrans" cxnId="{9E512815-EA6E-4972-99F2-E08BAA1D40DC}">
      <dgm:prSet/>
      <dgm:spPr/>
      <dgm:t>
        <a:bodyPr/>
        <a:lstStyle/>
        <a:p>
          <a:endParaRPr lang="en-DE"/>
        </a:p>
      </dgm:t>
    </dgm:pt>
    <dgm:pt modelId="{A69C1011-D02E-48A0-AD91-5AAAED359CC9}">
      <dgm:prSet phldrT="[Text]" custT="1"/>
      <dgm:spPr/>
      <dgm:t>
        <a:bodyPr/>
        <a:lstStyle/>
        <a:p>
          <a:r>
            <a:rPr lang="en-US" sz="1100" dirty="0"/>
            <a:t>Pre-Commit Hooks</a:t>
          </a:r>
          <a:endParaRPr lang="en-DE" sz="1100" dirty="0"/>
        </a:p>
      </dgm:t>
    </dgm:pt>
    <dgm:pt modelId="{60D8B0FF-53F9-4EB3-8E86-ACC8141B414A}" type="parTrans" cxnId="{200BB235-E7F4-4FAC-90B2-56B05C85FD5A}">
      <dgm:prSet/>
      <dgm:spPr/>
      <dgm:t>
        <a:bodyPr/>
        <a:lstStyle/>
        <a:p>
          <a:endParaRPr lang="en-DE"/>
        </a:p>
      </dgm:t>
    </dgm:pt>
    <dgm:pt modelId="{221F24DF-8185-4425-A68E-5C4231BC20E0}" type="sibTrans" cxnId="{200BB235-E7F4-4FAC-90B2-56B05C85FD5A}">
      <dgm:prSet/>
      <dgm:spPr/>
      <dgm:t>
        <a:bodyPr/>
        <a:lstStyle/>
        <a:p>
          <a:endParaRPr lang="en-DE"/>
        </a:p>
      </dgm:t>
    </dgm:pt>
    <dgm:pt modelId="{6BE47AF0-7351-4CA6-A8E7-6770A8ADA055}">
      <dgm:prSet phldrT="[Text]" custT="1"/>
      <dgm:spPr/>
      <dgm:t>
        <a:bodyPr/>
        <a:lstStyle/>
        <a:p>
          <a:r>
            <a:rPr lang="en-US" sz="1100" dirty="0"/>
            <a:t>Ruff</a:t>
          </a:r>
          <a:endParaRPr lang="en-DE" sz="1100" dirty="0"/>
        </a:p>
      </dgm:t>
    </dgm:pt>
    <dgm:pt modelId="{6025F6B9-370B-4E6E-BDE2-86664AE5E480}" type="parTrans" cxnId="{362E4AFE-3E02-485A-9675-47D24524AFC9}">
      <dgm:prSet/>
      <dgm:spPr/>
      <dgm:t>
        <a:bodyPr/>
        <a:lstStyle/>
        <a:p>
          <a:endParaRPr lang="en-DE"/>
        </a:p>
      </dgm:t>
    </dgm:pt>
    <dgm:pt modelId="{351AD6CB-27EB-49FA-A035-3912EA85934F}" type="sibTrans" cxnId="{362E4AFE-3E02-485A-9675-47D24524AFC9}">
      <dgm:prSet/>
      <dgm:spPr/>
      <dgm:t>
        <a:bodyPr/>
        <a:lstStyle/>
        <a:p>
          <a:endParaRPr lang="en-DE"/>
        </a:p>
      </dgm:t>
    </dgm:pt>
    <dgm:pt modelId="{6C643BE5-9C92-467A-9F91-94103C530D12}">
      <dgm:prSet phldrT="[Text]" custT="1"/>
      <dgm:spPr/>
      <dgm:t>
        <a:bodyPr/>
        <a:lstStyle/>
        <a:p>
          <a:r>
            <a:rPr lang="en-US" sz="1100" dirty="0"/>
            <a:t>Black (PEP 8)</a:t>
          </a:r>
          <a:endParaRPr lang="en-DE" sz="1100" dirty="0"/>
        </a:p>
      </dgm:t>
    </dgm:pt>
    <dgm:pt modelId="{A81E0EE7-3D79-4874-BF58-82BE732EF28E}" type="parTrans" cxnId="{6A828986-393E-47F2-9729-3AB139890E7C}">
      <dgm:prSet/>
      <dgm:spPr/>
      <dgm:t>
        <a:bodyPr/>
        <a:lstStyle/>
        <a:p>
          <a:endParaRPr lang="en-DE"/>
        </a:p>
      </dgm:t>
    </dgm:pt>
    <dgm:pt modelId="{F0F8619A-8A8D-4316-B25E-69A1218F31B5}" type="sibTrans" cxnId="{6A828986-393E-47F2-9729-3AB139890E7C}">
      <dgm:prSet/>
      <dgm:spPr/>
      <dgm:t>
        <a:bodyPr/>
        <a:lstStyle/>
        <a:p>
          <a:endParaRPr lang="en-DE"/>
        </a:p>
      </dgm:t>
    </dgm:pt>
    <dgm:pt modelId="{846A5117-DE42-4FC9-AB40-9D25330C50F2}" type="pres">
      <dgm:prSet presAssocID="{B47D97E1-2B9E-4F21-AC72-7814EC633A1B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1E0E721D-6574-4E8A-B37B-973292CE36B3}" type="pres">
      <dgm:prSet presAssocID="{21569B8E-9CB9-452E-BC59-AC391FD00031}" presName="textCenter" presStyleLbl="node1" presStyleIdx="0" presStyleCnt="6" custScaleX="175476" custLinFactNeighborX="-1891" custLinFactNeighborY="-44012"/>
      <dgm:spPr/>
    </dgm:pt>
    <dgm:pt modelId="{87CB30A2-D58C-4D0B-A0D5-5DA21C503857}" type="pres">
      <dgm:prSet presAssocID="{21569B8E-9CB9-452E-BC59-AC391FD00031}" presName="cycle_1" presStyleCnt="0"/>
      <dgm:spPr/>
    </dgm:pt>
    <dgm:pt modelId="{7F097C9F-D701-4AF5-B7D5-CF6D94FC45B2}" type="pres">
      <dgm:prSet presAssocID="{3C1FB5CD-02E9-4328-B489-A5F36367810B}" presName="childCenter1" presStyleLbl="node1" presStyleIdx="1" presStyleCnt="6" custScaleX="261904" custLinFactNeighborX="-696" custLinFactNeighborY="-11435"/>
      <dgm:spPr/>
    </dgm:pt>
    <dgm:pt modelId="{8DE2FF80-F29A-4785-9E2E-34EA2742BC33}" type="pres">
      <dgm:prSet presAssocID="{07906120-9E6B-4877-92C5-07ADE770D76A}" presName="Name144" presStyleLbl="parChTrans1D2" presStyleIdx="0" presStyleCnt="2"/>
      <dgm:spPr/>
    </dgm:pt>
    <dgm:pt modelId="{D0C71429-EF43-41A4-BB3D-6011256F9C72}" type="pres">
      <dgm:prSet presAssocID="{21569B8E-9CB9-452E-BC59-AC391FD00031}" presName="cycle_2" presStyleCnt="0"/>
      <dgm:spPr/>
    </dgm:pt>
    <dgm:pt modelId="{43C1A7E2-84A5-4103-B264-B9242A1CCDDA}" type="pres">
      <dgm:prSet presAssocID="{7516BC7D-B1E7-4DC2-A203-A5BD42AB29B5}" presName="childCenter2" presStyleLbl="node1" presStyleIdx="2" presStyleCnt="6" custScaleX="335237" custLinFactNeighborX="-1131" custLinFactNeighborY="-16798"/>
      <dgm:spPr/>
    </dgm:pt>
    <dgm:pt modelId="{004058A7-B3C3-4BAE-8F8F-0149B5850DB6}" type="pres">
      <dgm:prSet presAssocID="{60D8B0FF-53F9-4EB3-8E86-ACC8141B414A}" presName="Name218" presStyleLbl="parChTrans1D3" presStyleIdx="0" presStyleCnt="3"/>
      <dgm:spPr/>
    </dgm:pt>
    <dgm:pt modelId="{A66F220D-73CF-4610-AD45-F1BBCF83A0E2}" type="pres">
      <dgm:prSet presAssocID="{A69C1011-D02E-48A0-AD91-5AAAED359CC9}" presName="text2" presStyleLbl="node1" presStyleIdx="3" presStyleCnt="6" custScaleX="197759" custRadScaleRad="258994" custRadScaleInc="25424">
        <dgm:presLayoutVars>
          <dgm:bulletEnabled val="1"/>
        </dgm:presLayoutVars>
      </dgm:prSet>
      <dgm:spPr/>
    </dgm:pt>
    <dgm:pt modelId="{F5CDD970-4BD3-4E91-963D-B7918861D85C}" type="pres">
      <dgm:prSet presAssocID="{6025F6B9-370B-4E6E-BDE2-86664AE5E480}" presName="Name218" presStyleLbl="parChTrans1D3" presStyleIdx="1" presStyleCnt="3"/>
      <dgm:spPr/>
    </dgm:pt>
    <dgm:pt modelId="{0C9838A8-F145-4489-9534-1F99377E024A}" type="pres">
      <dgm:prSet presAssocID="{6BE47AF0-7351-4CA6-A8E7-6770A8ADA055}" presName="text2" presStyleLbl="node1" presStyleIdx="4" presStyleCnt="6" custScaleX="197759" custRadScaleRad="202915" custRadScaleInc="-1009">
        <dgm:presLayoutVars>
          <dgm:bulletEnabled val="1"/>
        </dgm:presLayoutVars>
      </dgm:prSet>
      <dgm:spPr/>
    </dgm:pt>
    <dgm:pt modelId="{519C209A-BAFA-4E00-B5E5-22699DF4825A}" type="pres">
      <dgm:prSet presAssocID="{A81E0EE7-3D79-4874-BF58-82BE732EF28E}" presName="Name218" presStyleLbl="parChTrans1D3" presStyleIdx="2" presStyleCnt="3"/>
      <dgm:spPr/>
    </dgm:pt>
    <dgm:pt modelId="{83109237-CE48-4499-9920-250D515A488A}" type="pres">
      <dgm:prSet presAssocID="{6C643BE5-9C92-467A-9F91-94103C530D12}" presName="text2" presStyleLbl="node1" presStyleIdx="5" presStyleCnt="6" custScaleX="197759" custRadScaleRad="275350" custRadScaleInc="-24002">
        <dgm:presLayoutVars>
          <dgm:bulletEnabled val="1"/>
        </dgm:presLayoutVars>
      </dgm:prSet>
      <dgm:spPr/>
    </dgm:pt>
    <dgm:pt modelId="{60E51301-658A-4CBB-B588-5856939AB1D8}" type="pres">
      <dgm:prSet presAssocID="{EB046F6C-3055-41BB-BC34-F8FDEBA621A3}" presName="Name221" presStyleLbl="parChTrans1D2" presStyleIdx="1" presStyleCnt="2"/>
      <dgm:spPr/>
    </dgm:pt>
  </dgm:ptLst>
  <dgm:cxnLst>
    <dgm:cxn modelId="{9E512815-EA6E-4972-99F2-E08BAA1D40DC}" srcId="{21569B8E-9CB9-452E-BC59-AC391FD00031}" destId="{7516BC7D-B1E7-4DC2-A203-A5BD42AB29B5}" srcOrd="1" destOrd="0" parTransId="{EB046F6C-3055-41BB-BC34-F8FDEBA621A3}" sibTransId="{8EEC361D-DDB7-4E98-8E28-402908740C53}"/>
    <dgm:cxn modelId="{7E99111C-7907-4510-AE81-18BD19E6B3A3}" type="presOf" srcId="{7516BC7D-B1E7-4DC2-A203-A5BD42AB29B5}" destId="{43C1A7E2-84A5-4103-B264-B9242A1CCDDA}" srcOrd="0" destOrd="0" presId="urn:microsoft.com/office/officeart/2008/layout/RadialCluster"/>
    <dgm:cxn modelId="{6DBFF826-120E-4DDC-B8FA-CF6A565D7D43}" type="presOf" srcId="{B47D97E1-2B9E-4F21-AC72-7814EC633A1B}" destId="{846A5117-DE42-4FC9-AB40-9D25330C50F2}" srcOrd="0" destOrd="0" presId="urn:microsoft.com/office/officeart/2008/layout/RadialCluster"/>
    <dgm:cxn modelId="{200BB235-E7F4-4FAC-90B2-56B05C85FD5A}" srcId="{7516BC7D-B1E7-4DC2-A203-A5BD42AB29B5}" destId="{A69C1011-D02E-48A0-AD91-5AAAED359CC9}" srcOrd="0" destOrd="0" parTransId="{60D8B0FF-53F9-4EB3-8E86-ACC8141B414A}" sibTransId="{221F24DF-8185-4425-A68E-5C4231BC20E0}"/>
    <dgm:cxn modelId="{5245FC5C-2C7F-4B77-8325-E2BBCD2FB3F8}" type="presOf" srcId="{EB046F6C-3055-41BB-BC34-F8FDEBA621A3}" destId="{60E51301-658A-4CBB-B588-5856939AB1D8}" srcOrd="0" destOrd="0" presId="urn:microsoft.com/office/officeart/2008/layout/RadialCluster"/>
    <dgm:cxn modelId="{1A5A9D67-9D6B-4559-956D-A26D4CB7E597}" type="presOf" srcId="{6BE47AF0-7351-4CA6-A8E7-6770A8ADA055}" destId="{0C9838A8-F145-4489-9534-1F99377E024A}" srcOrd="0" destOrd="0" presId="urn:microsoft.com/office/officeart/2008/layout/RadialCluster"/>
    <dgm:cxn modelId="{CFBE3A4B-3F3D-45CC-96A7-7E15B8AA2421}" type="presOf" srcId="{21569B8E-9CB9-452E-BC59-AC391FD00031}" destId="{1E0E721D-6574-4E8A-B37B-973292CE36B3}" srcOrd="0" destOrd="0" presId="urn:microsoft.com/office/officeart/2008/layout/RadialCluster"/>
    <dgm:cxn modelId="{BEED0954-245E-4B34-9D78-01115566B1C3}" srcId="{21569B8E-9CB9-452E-BC59-AC391FD00031}" destId="{3C1FB5CD-02E9-4328-B489-A5F36367810B}" srcOrd="0" destOrd="0" parTransId="{07906120-9E6B-4877-92C5-07ADE770D76A}" sibTransId="{2CC70EAA-DC2A-430F-9E91-7529A50F4FF1}"/>
    <dgm:cxn modelId="{23BC6B74-2319-40F3-8482-87E798D94FE4}" type="presOf" srcId="{60D8B0FF-53F9-4EB3-8E86-ACC8141B414A}" destId="{004058A7-B3C3-4BAE-8F8F-0149B5850DB6}" srcOrd="0" destOrd="0" presId="urn:microsoft.com/office/officeart/2008/layout/RadialCluster"/>
    <dgm:cxn modelId="{4B9BCF74-000B-4DCF-B991-396ECE71651E}" type="presOf" srcId="{6C643BE5-9C92-467A-9F91-94103C530D12}" destId="{83109237-CE48-4499-9920-250D515A488A}" srcOrd="0" destOrd="0" presId="urn:microsoft.com/office/officeart/2008/layout/RadialCluster"/>
    <dgm:cxn modelId="{D060BC82-60C6-456F-A1B7-551176CBA17B}" type="presOf" srcId="{A81E0EE7-3D79-4874-BF58-82BE732EF28E}" destId="{519C209A-BAFA-4E00-B5E5-22699DF4825A}" srcOrd="0" destOrd="0" presId="urn:microsoft.com/office/officeart/2008/layout/RadialCluster"/>
    <dgm:cxn modelId="{6A828986-393E-47F2-9729-3AB139890E7C}" srcId="{7516BC7D-B1E7-4DC2-A203-A5BD42AB29B5}" destId="{6C643BE5-9C92-467A-9F91-94103C530D12}" srcOrd="2" destOrd="0" parTransId="{A81E0EE7-3D79-4874-BF58-82BE732EF28E}" sibTransId="{F0F8619A-8A8D-4316-B25E-69A1218F31B5}"/>
    <dgm:cxn modelId="{911AEA98-102C-4DA6-A67F-F08C84C73C71}" type="presOf" srcId="{6025F6B9-370B-4E6E-BDE2-86664AE5E480}" destId="{F5CDD970-4BD3-4E91-963D-B7918861D85C}" srcOrd="0" destOrd="0" presId="urn:microsoft.com/office/officeart/2008/layout/RadialCluster"/>
    <dgm:cxn modelId="{647D49B5-A3C7-415D-8F56-86E1E07D87B7}" type="presOf" srcId="{07906120-9E6B-4877-92C5-07ADE770D76A}" destId="{8DE2FF80-F29A-4785-9E2E-34EA2742BC33}" srcOrd="0" destOrd="0" presId="urn:microsoft.com/office/officeart/2008/layout/RadialCluster"/>
    <dgm:cxn modelId="{2417FDDD-BD0A-45A6-B536-3E4588D051B4}" type="presOf" srcId="{A69C1011-D02E-48A0-AD91-5AAAED359CC9}" destId="{A66F220D-73CF-4610-AD45-F1BBCF83A0E2}" srcOrd="0" destOrd="0" presId="urn:microsoft.com/office/officeart/2008/layout/RadialCluster"/>
    <dgm:cxn modelId="{0488B2F1-16E8-493A-AF02-423D368E2310}" srcId="{B47D97E1-2B9E-4F21-AC72-7814EC633A1B}" destId="{21569B8E-9CB9-452E-BC59-AC391FD00031}" srcOrd="0" destOrd="0" parTransId="{85E363A3-40CF-4DE5-B93D-2804536CFD17}" sibTransId="{56F3E8A5-6EB4-4248-8DA0-54FE6335BCEB}"/>
    <dgm:cxn modelId="{362E4AFE-3E02-485A-9675-47D24524AFC9}" srcId="{7516BC7D-B1E7-4DC2-A203-A5BD42AB29B5}" destId="{6BE47AF0-7351-4CA6-A8E7-6770A8ADA055}" srcOrd="1" destOrd="0" parTransId="{6025F6B9-370B-4E6E-BDE2-86664AE5E480}" sibTransId="{351AD6CB-27EB-49FA-A035-3912EA85934F}"/>
    <dgm:cxn modelId="{775CFBFF-F869-4257-9F1C-CACF4A358950}" type="presOf" srcId="{3C1FB5CD-02E9-4328-B489-A5F36367810B}" destId="{7F097C9F-D701-4AF5-B7D5-CF6D94FC45B2}" srcOrd="0" destOrd="0" presId="urn:microsoft.com/office/officeart/2008/layout/RadialCluster"/>
    <dgm:cxn modelId="{64305A3C-8657-4CF0-9C83-C078297F7708}" type="presParOf" srcId="{846A5117-DE42-4FC9-AB40-9D25330C50F2}" destId="{1E0E721D-6574-4E8A-B37B-973292CE36B3}" srcOrd="0" destOrd="0" presId="urn:microsoft.com/office/officeart/2008/layout/RadialCluster"/>
    <dgm:cxn modelId="{EC6DBA30-66A0-43B7-80B4-442E1BA86212}" type="presParOf" srcId="{846A5117-DE42-4FC9-AB40-9D25330C50F2}" destId="{87CB30A2-D58C-4D0B-A0D5-5DA21C503857}" srcOrd="1" destOrd="0" presId="urn:microsoft.com/office/officeart/2008/layout/RadialCluster"/>
    <dgm:cxn modelId="{6F23EC3E-26F9-42BE-9CCB-61261B78D900}" type="presParOf" srcId="{87CB30A2-D58C-4D0B-A0D5-5DA21C503857}" destId="{7F097C9F-D701-4AF5-B7D5-CF6D94FC45B2}" srcOrd="0" destOrd="0" presId="urn:microsoft.com/office/officeart/2008/layout/RadialCluster"/>
    <dgm:cxn modelId="{BD239D9A-4704-471B-B905-E94ADA6470E6}" type="presParOf" srcId="{846A5117-DE42-4FC9-AB40-9D25330C50F2}" destId="{8DE2FF80-F29A-4785-9E2E-34EA2742BC33}" srcOrd="2" destOrd="0" presId="urn:microsoft.com/office/officeart/2008/layout/RadialCluster"/>
    <dgm:cxn modelId="{F50C10D5-CCBD-4DAB-8D03-6730411D88D8}" type="presParOf" srcId="{846A5117-DE42-4FC9-AB40-9D25330C50F2}" destId="{D0C71429-EF43-41A4-BB3D-6011256F9C72}" srcOrd="3" destOrd="0" presId="urn:microsoft.com/office/officeart/2008/layout/RadialCluster"/>
    <dgm:cxn modelId="{3D09806D-3364-4CBE-A937-4FA242B79FF5}" type="presParOf" srcId="{D0C71429-EF43-41A4-BB3D-6011256F9C72}" destId="{43C1A7E2-84A5-4103-B264-B9242A1CCDDA}" srcOrd="0" destOrd="0" presId="urn:microsoft.com/office/officeart/2008/layout/RadialCluster"/>
    <dgm:cxn modelId="{8BBCF21D-2CA3-4976-9F9E-63EDAC8B7DD9}" type="presParOf" srcId="{D0C71429-EF43-41A4-BB3D-6011256F9C72}" destId="{004058A7-B3C3-4BAE-8F8F-0149B5850DB6}" srcOrd="1" destOrd="0" presId="urn:microsoft.com/office/officeart/2008/layout/RadialCluster"/>
    <dgm:cxn modelId="{3A40D315-F1B5-418C-A149-AC493DE13793}" type="presParOf" srcId="{D0C71429-EF43-41A4-BB3D-6011256F9C72}" destId="{A66F220D-73CF-4610-AD45-F1BBCF83A0E2}" srcOrd="2" destOrd="0" presId="urn:microsoft.com/office/officeart/2008/layout/RadialCluster"/>
    <dgm:cxn modelId="{D0A18EB6-8844-4CA3-B171-B73478FC39C1}" type="presParOf" srcId="{D0C71429-EF43-41A4-BB3D-6011256F9C72}" destId="{F5CDD970-4BD3-4E91-963D-B7918861D85C}" srcOrd="3" destOrd="0" presId="urn:microsoft.com/office/officeart/2008/layout/RadialCluster"/>
    <dgm:cxn modelId="{013BF069-2CAB-4724-8DE4-1FEFC61FD4B7}" type="presParOf" srcId="{D0C71429-EF43-41A4-BB3D-6011256F9C72}" destId="{0C9838A8-F145-4489-9534-1F99377E024A}" srcOrd="4" destOrd="0" presId="urn:microsoft.com/office/officeart/2008/layout/RadialCluster"/>
    <dgm:cxn modelId="{BA0DD1BD-DAEC-4393-A354-6B82BE3F3417}" type="presParOf" srcId="{D0C71429-EF43-41A4-BB3D-6011256F9C72}" destId="{519C209A-BAFA-4E00-B5E5-22699DF4825A}" srcOrd="5" destOrd="0" presId="urn:microsoft.com/office/officeart/2008/layout/RadialCluster"/>
    <dgm:cxn modelId="{042D88AA-F7F5-40E1-8EF5-95793F49E9B3}" type="presParOf" srcId="{D0C71429-EF43-41A4-BB3D-6011256F9C72}" destId="{83109237-CE48-4499-9920-250D515A488A}" srcOrd="6" destOrd="0" presId="urn:microsoft.com/office/officeart/2008/layout/RadialCluster"/>
    <dgm:cxn modelId="{02BC46D3-67DE-4C5D-8990-D0BCF7E50B42}" type="presParOf" srcId="{846A5117-DE42-4FC9-AB40-9D25330C50F2}" destId="{60E51301-658A-4CBB-B588-5856939AB1D8}" srcOrd="4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215073-997C-4D4A-A477-FBCC321E6C75}">
      <dsp:nvSpPr>
        <dsp:cNvPr id="0" name=""/>
        <dsp:cNvSpPr/>
      </dsp:nvSpPr>
      <dsp:spPr>
        <a:xfrm rot="5400000">
          <a:off x="-72981" y="74285"/>
          <a:ext cx="486542" cy="3405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 rot="-5400000">
        <a:off x="0" y="171594"/>
        <a:ext cx="340580" cy="145962"/>
      </dsp:txXfrm>
    </dsp:sp>
    <dsp:sp modelId="{CA5EBD83-0F5C-43C8-AD09-7E950AA2253C}">
      <dsp:nvSpPr>
        <dsp:cNvPr id="0" name=""/>
        <dsp:cNvSpPr/>
      </dsp:nvSpPr>
      <dsp:spPr>
        <a:xfrm rot="5400000">
          <a:off x="3973125" y="-3631241"/>
          <a:ext cx="316252" cy="7581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>
              <a:latin typeface="Arial"/>
            </a:rPr>
            <a:t>Introduction</a:t>
          </a:r>
          <a:endParaRPr lang="en-US" sz="1900" kern="1200" dirty="0"/>
        </a:p>
      </dsp:txBody>
      <dsp:txXfrm rot="-5400000">
        <a:off x="340580" y="16742"/>
        <a:ext cx="7565905" cy="285376"/>
      </dsp:txXfrm>
    </dsp:sp>
    <dsp:sp modelId="{E69AA3B3-9EF2-4E6D-A100-2D21D8736A15}">
      <dsp:nvSpPr>
        <dsp:cNvPr id="0" name=""/>
        <dsp:cNvSpPr/>
      </dsp:nvSpPr>
      <dsp:spPr>
        <a:xfrm rot="5400000">
          <a:off x="-72981" y="511654"/>
          <a:ext cx="486542" cy="3405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 rot="-5400000">
        <a:off x="0" y="608963"/>
        <a:ext cx="340580" cy="145962"/>
      </dsp:txXfrm>
    </dsp:sp>
    <dsp:sp modelId="{4DC6DEA1-D862-42DD-A91B-9DC46B6A86F4}">
      <dsp:nvSpPr>
        <dsp:cNvPr id="0" name=""/>
        <dsp:cNvSpPr/>
      </dsp:nvSpPr>
      <dsp:spPr>
        <a:xfrm rot="5400000">
          <a:off x="3973125" y="-3193872"/>
          <a:ext cx="316252" cy="7581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>
              <a:latin typeface="Arial"/>
            </a:rPr>
            <a:t>Research Focus</a:t>
          </a:r>
        </a:p>
      </dsp:txBody>
      <dsp:txXfrm rot="-5400000">
        <a:off x="340580" y="454111"/>
        <a:ext cx="7565905" cy="285376"/>
      </dsp:txXfrm>
    </dsp:sp>
    <dsp:sp modelId="{E22CD7B2-7C8D-412C-AE68-DC266FBA7A11}">
      <dsp:nvSpPr>
        <dsp:cNvPr id="0" name=""/>
        <dsp:cNvSpPr/>
      </dsp:nvSpPr>
      <dsp:spPr>
        <a:xfrm rot="5400000">
          <a:off x="-72981" y="949024"/>
          <a:ext cx="486542" cy="3405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>
            <a:latin typeface="Arial"/>
          </a:endParaRPr>
        </a:p>
      </dsp:txBody>
      <dsp:txXfrm rot="-5400000">
        <a:off x="0" y="1046333"/>
        <a:ext cx="340580" cy="145962"/>
      </dsp:txXfrm>
    </dsp:sp>
    <dsp:sp modelId="{A67D538C-5C32-482E-B0C2-1800A02BBC2E}">
      <dsp:nvSpPr>
        <dsp:cNvPr id="0" name=""/>
        <dsp:cNvSpPr/>
      </dsp:nvSpPr>
      <dsp:spPr>
        <a:xfrm rot="5400000">
          <a:off x="3973125" y="-2756502"/>
          <a:ext cx="316252" cy="7581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>
              <a:latin typeface="Arial"/>
            </a:rPr>
            <a:t>Challenges</a:t>
          </a:r>
        </a:p>
      </dsp:txBody>
      <dsp:txXfrm rot="-5400000">
        <a:off x="340580" y="891481"/>
        <a:ext cx="7565905" cy="285376"/>
      </dsp:txXfrm>
    </dsp:sp>
    <dsp:sp modelId="{81AFDE93-9860-4F66-8633-23F0BF20AD0D}">
      <dsp:nvSpPr>
        <dsp:cNvPr id="0" name=""/>
        <dsp:cNvSpPr/>
      </dsp:nvSpPr>
      <dsp:spPr>
        <a:xfrm rot="5400000">
          <a:off x="-72981" y="1386393"/>
          <a:ext cx="486542" cy="3405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>
            <a:latin typeface="Arial"/>
          </a:endParaRPr>
        </a:p>
      </dsp:txBody>
      <dsp:txXfrm rot="-5400000">
        <a:off x="0" y="1483702"/>
        <a:ext cx="340580" cy="145962"/>
      </dsp:txXfrm>
    </dsp:sp>
    <dsp:sp modelId="{CDCD3524-C452-4043-9517-C6922393C8D2}">
      <dsp:nvSpPr>
        <dsp:cNvPr id="0" name=""/>
        <dsp:cNvSpPr/>
      </dsp:nvSpPr>
      <dsp:spPr>
        <a:xfrm rot="5400000">
          <a:off x="3973125" y="-2319133"/>
          <a:ext cx="316252" cy="7581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Data Sources, Structure and Quality</a:t>
          </a:r>
          <a:endParaRPr lang="en-US" sz="1900" kern="1200" dirty="0">
            <a:latin typeface="Arial"/>
          </a:endParaRPr>
        </a:p>
      </dsp:txBody>
      <dsp:txXfrm rot="-5400000">
        <a:off x="340580" y="1328850"/>
        <a:ext cx="7565905" cy="285376"/>
      </dsp:txXfrm>
    </dsp:sp>
    <dsp:sp modelId="{EEA75348-6761-49B7-B912-4DB56B699A00}">
      <dsp:nvSpPr>
        <dsp:cNvPr id="0" name=""/>
        <dsp:cNvSpPr/>
      </dsp:nvSpPr>
      <dsp:spPr>
        <a:xfrm rot="5400000">
          <a:off x="-72981" y="1823762"/>
          <a:ext cx="486542" cy="3405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>
            <a:latin typeface="Arial"/>
          </a:endParaRPr>
        </a:p>
      </dsp:txBody>
      <dsp:txXfrm rot="-5400000">
        <a:off x="0" y="1921071"/>
        <a:ext cx="340580" cy="145962"/>
      </dsp:txXfrm>
    </dsp:sp>
    <dsp:sp modelId="{96AD506A-2C38-4196-A2F5-0491EF51B474}">
      <dsp:nvSpPr>
        <dsp:cNvPr id="0" name=""/>
        <dsp:cNvSpPr/>
      </dsp:nvSpPr>
      <dsp:spPr>
        <a:xfrm rot="5400000">
          <a:off x="3973125" y="-1881764"/>
          <a:ext cx="316252" cy="7581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>
              <a:latin typeface="Arial"/>
            </a:rPr>
            <a:t>Overview of the Project</a:t>
          </a:r>
          <a:endParaRPr lang="en-US" sz="1900" kern="1200" dirty="0"/>
        </a:p>
      </dsp:txBody>
      <dsp:txXfrm rot="-5400000">
        <a:off x="340580" y="1766219"/>
        <a:ext cx="7565905" cy="285376"/>
      </dsp:txXfrm>
    </dsp:sp>
    <dsp:sp modelId="{D18D824B-590A-48F4-A3C2-1A27007B7CE5}">
      <dsp:nvSpPr>
        <dsp:cNvPr id="0" name=""/>
        <dsp:cNvSpPr/>
      </dsp:nvSpPr>
      <dsp:spPr>
        <a:xfrm rot="5400000">
          <a:off x="-72981" y="2261131"/>
          <a:ext cx="486542" cy="3405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>
            <a:latin typeface="Arial"/>
          </a:endParaRPr>
        </a:p>
      </dsp:txBody>
      <dsp:txXfrm rot="-5400000">
        <a:off x="0" y="2358440"/>
        <a:ext cx="340580" cy="145962"/>
      </dsp:txXfrm>
    </dsp:sp>
    <dsp:sp modelId="{CA6580DE-45BE-4D6A-9F11-7180117409B6}">
      <dsp:nvSpPr>
        <dsp:cNvPr id="0" name=""/>
        <dsp:cNvSpPr/>
      </dsp:nvSpPr>
      <dsp:spPr>
        <a:xfrm rot="5400000">
          <a:off x="3973125" y="-1444395"/>
          <a:ext cx="316252" cy="7581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>
              <a:latin typeface="Arial"/>
            </a:rPr>
            <a:t>Data Pipeline Module</a:t>
          </a:r>
        </a:p>
      </dsp:txBody>
      <dsp:txXfrm rot="-5400000">
        <a:off x="340580" y="2203588"/>
        <a:ext cx="7565905" cy="285376"/>
      </dsp:txXfrm>
    </dsp:sp>
    <dsp:sp modelId="{8EE1F83E-20FC-406B-8C37-2E86F65E8FCB}">
      <dsp:nvSpPr>
        <dsp:cNvPr id="0" name=""/>
        <dsp:cNvSpPr/>
      </dsp:nvSpPr>
      <dsp:spPr>
        <a:xfrm rot="5400000">
          <a:off x="-72981" y="2698501"/>
          <a:ext cx="486542" cy="3405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>
            <a:latin typeface="Arial"/>
          </a:endParaRPr>
        </a:p>
      </dsp:txBody>
      <dsp:txXfrm rot="-5400000">
        <a:off x="0" y="2795810"/>
        <a:ext cx="340580" cy="145962"/>
      </dsp:txXfrm>
    </dsp:sp>
    <dsp:sp modelId="{B712C99A-42AD-4C8D-906F-CF16C00F4A45}">
      <dsp:nvSpPr>
        <dsp:cNvPr id="0" name=""/>
        <dsp:cNvSpPr/>
      </dsp:nvSpPr>
      <dsp:spPr>
        <a:xfrm rot="5400000">
          <a:off x="3973125" y="-1007025"/>
          <a:ext cx="316252" cy="7581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Data Exploration Module</a:t>
          </a:r>
          <a:endParaRPr lang="en-DE" sz="1900" kern="1200" dirty="0"/>
        </a:p>
      </dsp:txBody>
      <dsp:txXfrm rot="-5400000">
        <a:off x="340580" y="2640958"/>
        <a:ext cx="7565905" cy="285376"/>
      </dsp:txXfrm>
    </dsp:sp>
    <dsp:sp modelId="{62A51BF7-9B86-4ACF-9B24-BDAE36670251}">
      <dsp:nvSpPr>
        <dsp:cNvPr id="0" name=""/>
        <dsp:cNvSpPr/>
      </dsp:nvSpPr>
      <dsp:spPr>
        <a:xfrm rot="5400000">
          <a:off x="-72981" y="3135870"/>
          <a:ext cx="486542" cy="3405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1000" kern="1200" dirty="0"/>
        </a:p>
      </dsp:txBody>
      <dsp:txXfrm rot="-5400000">
        <a:off x="0" y="3233179"/>
        <a:ext cx="340580" cy="145962"/>
      </dsp:txXfrm>
    </dsp:sp>
    <dsp:sp modelId="{9C8A9338-6733-414C-B2EA-3359EAB5C7AC}">
      <dsp:nvSpPr>
        <dsp:cNvPr id="0" name=""/>
        <dsp:cNvSpPr/>
      </dsp:nvSpPr>
      <dsp:spPr>
        <a:xfrm rot="5400000">
          <a:off x="3973125" y="-569656"/>
          <a:ext cx="316252" cy="7581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Deployment: CI (Tests &amp; Code Quality Checks)</a:t>
          </a:r>
          <a:endParaRPr lang="en-DE" sz="1900" kern="1200" dirty="0"/>
        </a:p>
      </dsp:txBody>
      <dsp:txXfrm rot="-5400000">
        <a:off x="340580" y="3078327"/>
        <a:ext cx="7565905" cy="285376"/>
      </dsp:txXfrm>
    </dsp:sp>
    <dsp:sp modelId="{6E000F3C-1FD0-4D4C-A360-6BF84FDF5846}">
      <dsp:nvSpPr>
        <dsp:cNvPr id="0" name=""/>
        <dsp:cNvSpPr/>
      </dsp:nvSpPr>
      <dsp:spPr>
        <a:xfrm rot="5400000">
          <a:off x="-72981" y="3573239"/>
          <a:ext cx="486542" cy="3405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1000" kern="1200" dirty="0"/>
        </a:p>
      </dsp:txBody>
      <dsp:txXfrm rot="-5400000">
        <a:off x="0" y="3670548"/>
        <a:ext cx="340580" cy="145962"/>
      </dsp:txXfrm>
    </dsp:sp>
    <dsp:sp modelId="{83BF6D58-7F83-48E5-A9E5-69877B3F7AA1}">
      <dsp:nvSpPr>
        <dsp:cNvPr id="0" name=""/>
        <dsp:cNvSpPr/>
      </dsp:nvSpPr>
      <dsp:spPr>
        <a:xfrm rot="5400000">
          <a:off x="3973125" y="-132287"/>
          <a:ext cx="316252" cy="7581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Documentation</a:t>
          </a:r>
          <a:endParaRPr lang="en-DE" sz="1900" kern="1200" dirty="0"/>
        </a:p>
      </dsp:txBody>
      <dsp:txXfrm rot="-5400000">
        <a:off x="340580" y="3515696"/>
        <a:ext cx="7565905" cy="285376"/>
      </dsp:txXfrm>
    </dsp:sp>
    <dsp:sp modelId="{F59465BE-D65F-4814-8F5D-5663AE286D02}">
      <dsp:nvSpPr>
        <dsp:cNvPr id="0" name=""/>
        <dsp:cNvSpPr/>
      </dsp:nvSpPr>
      <dsp:spPr>
        <a:xfrm rot="5400000">
          <a:off x="-72981" y="4010608"/>
          <a:ext cx="486542" cy="3405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1000" kern="1200" dirty="0"/>
        </a:p>
      </dsp:txBody>
      <dsp:txXfrm rot="-5400000">
        <a:off x="0" y="4107917"/>
        <a:ext cx="340580" cy="145962"/>
      </dsp:txXfrm>
    </dsp:sp>
    <dsp:sp modelId="{B60635A0-2C6B-4ACB-8A9D-CE49A6847847}">
      <dsp:nvSpPr>
        <dsp:cNvPr id="0" name=""/>
        <dsp:cNvSpPr/>
      </dsp:nvSpPr>
      <dsp:spPr>
        <a:xfrm rot="5400000">
          <a:off x="3973125" y="305081"/>
          <a:ext cx="316252" cy="7581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Analysis</a:t>
          </a:r>
          <a:endParaRPr lang="en-DE" sz="1900" kern="1200" dirty="0"/>
        </a:p>
      </dsp:txBody>
      <dsp:txXfrm rot="-5400000">
        <a:off x="340580" y="3953064"/>
        <a:ext cx="7565905" cy="285376"/>
      </dsp:txXfrm>
    </dsp:sp>
    <dsp:sp modelId="{6ACC1AE5-611F-4350-9E24-84466B45CDAF}">
      <dsp:nvSpPr>
        <dsp:cNvPr id="0" name=""/>
        <dsp:cNvSpPr/>
      </dsp:nvSpPr>
      <dsp:spPr>
        <a:xfrm rot="5400000">
          <a:off x="-72981" y="4447978"/>
          <a:ext cx="486542" cy="3405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1000" kern="1200" dirty="0"/>
        </a:p>
      </dsp:txBody>
      <dsp:txXfrm rot="-5400000">
        <a:off x="0" y="4545287"/>
        <a:ext cx="340580" cy="145962"/>
      </dsp:txXfrm>
    </dsp:sp>
    <dsp:sp modelId="{28979EF1-B8F7-4A99-9434-157759429AAF}">
      <dsp:nvSpPr>
        <dsp:cNvPr id="0" name=""/>
        <dsp:cNvSpPr/>
      </dsp:nvSpPr>
      <dsp:spPr>
        <a:xfrm rot="5400000">
          <a:off x="3973125" y="742451"/>
          <a:ext cx="316252" cy="7581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Conclusion</a:t>
          </a:r>
          <a:endParaRPr lang="en-DE" sz="1900" kern="1200" dirty="0"/>
        </a:p>
      </dsp:txBody>
      <dsp:txXfrm rot="-5400000">
        <a:off x="340580" y="4390434"/>
        <a:ext cx="7565905" cy="285376"/>
      </dsp:txXfrm>
    </dsp:sp>
    <dsp:sp modelId="{F7EC3A0B-ED43-4D35-9A15-3B85FDACE4D4}">
      <dsp:nvSpPr>
        <dsp:cNvPr id="0" name=""/>
        <dsp:cNvSpPr/>
      </dsp:nvSpPr>
      <dsp:spPr>
        <a:xfrm rot="5400000">
          <a:off x="-72981" y="4885347"/>
          <a:ext cx="486542" cy="34058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1000" kern="1200" dirty="0"/>
        </a:p>
      </dsp:txBody>
      <dsp:txXfrm rot="-5400000">
        <a:off x="0" y="4982656"/>
        <a:ext cx="340580" cy="145962"/>
      </dsp:txXfrm>
    </dsp:sp>
    <dsp:sp modelId="{71C5997A-6B45-4899-9943-00542DB0CA77}">
      <dsp:nvSpPr>
        <dsp:cNvPr id="0" name=""/>
        <dsp:cNvSpPr/>
      </dsp:nvSpPr>
      <dsp:spPr>
        <a:xfrm rot="5400000">
          <a:off x="3973125" y="1179820"/>
          <a:ext cx="316252" cy="7581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References</a:t>
          </a:r>
          <a:endParaRPr lang="en-DE" sz="1900" kern="1200" dirty="0"/>
        </a:p>
      </dsp:txBody>
      <dsp:txXfrm rot="-5400000">
        <a:off x="340580" y="4827803"/>
        <a:ext cx="7565905" cy="2853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C73B2A-1DDE-4BEA-B61C-A9E1A346FE96}">
      <dsp:nvSpPr>
        <dsp:cNvPr id="0" name=""/>
        <dsp:cNvSpPr/>
      </dsp:nvSpPr>
      <dsp:spPr>
        <a:xfrm>
          <a:off x="5256210" y="2417374"/>
          <a:ext cx="4116696" cy="4763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8155"/>
              </a:lnTo>
              <a:lnTo>
                <a:pt x="4116696" y="238155"/>
              </a:lnTo>
              <a:lnTo>
                <a:pt x="4116696" y="4763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7B07B4-FED0-4861-98E4-E79DE6E682C7}">
      <dsp:nvSpPr>
        <dsp:cNvPr id="0" name=""/>
        <dsp:cNvSpPr/>
      </dsp:nvSpPr>
      <dsp:spPr>
        <a:xfrm>
          <a:off x="5256210" y="2417374"/>
          <a:ext cx="1372232" cy="4763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8155"/>
              </a:lnTo>
              <a:lnTo>
                <a:pt x="1372232" y="238155"/>
              </a:lnTo>
              <a:lnTo>
                <a:pt x="1372232" y="4763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965F85-1163-4BD0-A9B4-8E8D442DEBF5}">
      <dsp:nvSpPr>
        <dsp:cNvPr id="0" name=""/>
        <dsp:cNvSpPr/>
      </dsp:nvSpPr>
      <dsp:spPr>
        <a:xfrm>
          <a:off x="3883978" y="2417374"/>
          <a:ext cx="1372232" cy="476311"/>
        </a:xfrm>
        <a:custGeom>
          <a:avLst/>
          <a:gdLst/>
          <a:ahLst/>
          <a:cxnLst/>
          <a:rect l="0" t="0" r="0" b="0"/>
          <a:pathLst>
            <a:path>
              <a:moveTo>
                <a:pt x="1372232" y="0"/>
              </a:moveTo>
              <a:lnTo>
                <a:pt x="1372232" y="238155"/>
              </a:lnTo>
              <a:lnTo>
                <a:pt x="0" y="238155"/>
              </a:lnTo>
              <a:lnTo>
                <a:pt x="0" y="4763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A50457-BB1C-4584-AA4A-306D3E586458}">
      <dsp:nvSpPr>
        <dsp:cNvPr id="0" name=""/>
        <dsp:cNvSpPr/>
      </dsp:nvSpPr>
      <dsp:spPr>
        <a:xfrm>
          <a:off x="1139513" y="2417374"/>
          <a:ext cx="4116696" cy="476311"/>
        </a:xfrm>
        <a:custGeom>
          <a:avLst/>
          <a:gdLst/>
          <a:ahLst/>
          <a:cxnLst/>
          <a:rect l="0" t="0" r="0" b="0"/>
          <a:pathLst>
            <a:path>
              <a:moveTo>
                <a:pt x="4116696" y="0"/>
              </a:moveTo>
              <a:lnTo>
                <a:pt x="4116696" y="238155"/>
              </a:lnTo>
              <a:lnTo>
                <a:pt x="0" y="238155"/>
              </a:lnTo>
              <a:lnTo>
                <a:pt x="0" y="4763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EA47F9-E0DE-4F68-8245-7A90F3E28E30}">
      <dsp:nvSpPr>
        <dsp:cNvPr id="0" name=""/>
        <dsp:cNvSpPr/>
      </dsp:nvSpPr>
      <dsp:spPr>
        <a:xfrm>
          <a:off x="4122134" y="1283298"/>
          <a:ext cx="2268152" cy="11340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Data Engineering Toolkit</a:t>
          </a:r>
          <a:endParaRPr lang="en-DE" sz="2600" kern="1200" dirty="0"/>
        </a:p>
      </dsp:txBody>
      <dsp:txXfrm>
        <a:off x="4122134" y="1283298"/>
        <a:ext cx="2268152" cy="1134076"/>
      </dsp:txXfrm>
    </dsp:sp>
    <dsp:sp modelId="{70089BE4-5588-4A06-BAF2-B8F8D34F8299}">
      <dsp:nvSpPr>
        <dsp:cNvPr id="0" name=""/>
        <dsp:cNvSpPr/>
      </dsp:nvSpPr>
      <dsp:spPr>
        <a:xfrm>
          <a:off x="5437" y="2893686"/>
          <a:ext cx="2268152" cy="11340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Modules</a:t>
          </a:r>
          <a:endParaRPr lang="en-DE" sz="2600" kern="1200"/>
        </a:p>
      </dsp:txBody>
      <dsp:txXfrm>
        <a:off x="5437" y="2893686"/>
        <a:ext cx="2268152" cy="1134076"/>
      </dsp:txXfrm>
    </dsp:sp>
    <dsp:sp modelId="{DC0688EE-60FD-447D-AB95-8CFA3998BA3C}">
      <dsp:nvSpPr>
        <dsp:cNvPr id="0" name=""/>
        <dsp:cNvSpPr/>
      </dsp:nvSpPr>
      <dsp:spPr>
        <a:xfrm>
          <a:off x="2749902" y="2893686"/>
          <a:ext cx="2268152" cy="11340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Documentation</a:t>
          </a:r>
          <a:endParaRPr lang="en-DE" sz="2600" kern="1200"/>
        </a:p>
      </dsp:txBody>
      <dsp:txXfrm>
        <a:off x="2749902" y="2893686"/>
        <a:ext cx="2268152" cy="1134076"/>
      </dsp:txXfrm>
    </dsp:sp>
    <dsp:sp modelId="{8991C403-B8EE-4557-933E-66EC0DA33BDB}">
      <dsp:nvSpPr>
        <dsp:cNvPr id="0" name=""/>
        <dsp:cNvSpPr/>
      </dsp:nvSpPr>
      <dsp:spPr>
        <a:xfrm>
          <a:off x="5494366" y="2893686"/>
          <a:ext cx="2268152" cy="11340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Tests</a:t>
          </a:r>
          <a:endParaRPr lang="en-DE" sz="2600" kern="1200"/>
        </a:p>
      </dsp:txBody>
      <dsp:txXfrm>
        <a:off x="5494366" y="2893686"/>
        <a:ext cx="2268152" cy="1134076"/>
      </dsp:txXfrm>
    </dsp:sp>
    <dsp:sp modelId="{63AB60EC-C9AE-444E-998A-94B0362E5CC4}">
      <dsp:nvSpPr>
        <dsp:cNvPr id="0" name=""/>
        <dsp:cNvSpPr/>
      </dsp:nvSpPr>
      <dsp:spPr>
        <a:xfrm>
          <a:off x="8238830" y="2893686"/>
          <a:ext cx="2268152" cy="11340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Reports</a:t>
          </a:r>
          <a:endParaRPr lang="en-DE" sz="2600" kern="1200" dirty="0"/>
        </a:p>
      </dsp:txBody>
      <dsp:txXfrm>
        <a:off x="8238830" y="2893686"/>
        <a:ext cx="2268152" cy="113407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BCC5EA-E36B-4B20-AF9B-950C49D95EE2}">
      <dsp:nvSpPr>
        <dsp:cNvPr id="0" name=""/>
        <dsp:cNvSpPr/>
      </dsp:nvSpPr>
      <dsp:spPr>
        <a:xfrm>
          <a:off x="2511423" y="2550366"/>
          <a:ext cx="1144885" cy="114488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Transform</a:t>
          </a:r>
          <a:endParaRPr lang="en-DE" sz="1000" b="1" kern="1200" dirty="0"/>
        </a:p>
      </dsp:txBody>
      <dsp:txXfrm>
        <a:off x="2679088" y="2718031"/>
        <a:ext cx="809555" cy="809555"/>
      </dsp:txXfrm>
    </dsp:sp>
    <dsp:sp modelId="{D50290E8-6739-40C7-8EDE-2A4C7E0BCBFD}">
      <dsp:nvSpPr>
        <dsp:cNvPr id="0" name=""/>
        <dsp:cNvSpPr/>
      </dsp:nvSpPr>
      <dsp:spPr>
        <a:xfrm rot="10800000">
          <a:off x="402896" y="2959662"/>
          <a:ext cx="1992558" cy="326292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127E1A-8765-4443-A6FD-56D083C19E0B}">
      <dsp:nvSpPr>
        <dsp:cNvPr id="0" name=""/>
        <dsp:cNvSpPr/>
      </dsp:nvSpPr>
      <dsp:spPr>
        <a:xfrm>
          <a:off x="2186" y="2802241"/>
          <a:ext cx="801419" cy="6411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 err="1"/>
            <a:t>delete_columns</a:t>
          </a:r>
          <a:endParaRPr lang="en-DE" sz="1100" kern="1200" dirty="0"/>
        </a:p>
      </dsp:txBody>
      <dsp:txXfrm>
        <a:off x="20964" y="2821019"/>
        <a:ext cx="763863" cy="603579"/>
      </dsp:txXfrm>
    </dsp:sp>
    <dsp:sp modelId="{A0A84648-39A8-4802-9A10-7E47E610847D}">
      <dsp:nvSpPr>
        <dsp:cNvPr id="0" name=""/>
        <dsp:cNvSpPr/>
      </dsp:nvSpPr>
      <dsp:spPr>
        <a:xfrm rot="12150000">
          <a:off x="531135" y="2314959"/>
          <a:ext cx="1992558" cy="326292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DDDFB0-3F44-40C8-91C8-D09E1FD7AD82}">
      <dsp:nvSpPr>
        <dsp:cNvPr id="0" name=""/>
        <dsp:cNvSpPr/>
      </dsp:nvSpPr>
      <dsp:spPr>
        <a:xfrm>
          <a:off x="206263" y="1776278"/>
          <a:ext cx="801419" cy="6411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 err="1"/>
            <a:t>drop_null_rows</a:t>
          </a:r>
          <a:endParaRPr lang="en-DE" sz="1100" kern="1200" dirty="0"/>
        </a:p>
      </dsp:txBody>
      <dsp:txXfrm>
        <a:off x="225041" y="1795056"/>
        <a:ext cx="763863" cy="603579"/>
      </dsp:txXfrm>
    </dsp:sp>
    <dsp:sp modelId="{EEE444AA-6D71-4573-BDE8-606EACC47028}">
      <dsp:nvSpPr>
        <dsp:cNvPr id="0" name=""/>
        <dsp:cNvSpPr/>
      </dsp:nvSpPr>
      <dsp:spPr>
        <a:xfrm rot="13500000">
          <a:off x="896330" y="1768406"/>
          <a:ext cx="1992558" cy="326292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08EBEB-4ADF-4D9B-BF55-3E5027E3D08B}">
      <dsp:nvSpPr>
        <dsp:cNvPr id="0" name=""/>
        <dsp:cNvSpPr/>
      </dsp:nvSpPr>
      <dsp:spPr>
        <a:xfrm>
          <a:off x="787424" y="906509"/>
          <a:ext cx="801419" cy="6411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 err="1"/>
            <a:t>fill_missing_values</a:t>
          </a:r>
          <a:endParaRPr lang="en-DE" sz="1100" kern="1200" dirty="0"/>
        </a:p>
      </dsp:txBody>
      <dsp:txXfrm>
        <a:off x="806202" y="925287"/>
        <a:ext cx="763863" cy="603579"/>
      </dsp:txXfrm>
    </dsp:sp>
    <dsp:sp modelId="{3392AD28-E887-4309-870D-4D5EDAB2B251}">
      <dsp:nvSpPr>
        <dsp:cNvPr id="0" name=""/>
        <dsp:cNvSpPr/>
      </dsp:nvSpPr>
      <dsp:spPr>
        <a:xfrm rot="14850000">
          <a:off x="1442884" y="1403211"/>
          <a:ext cx="1992558" cy="326292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25AC09-2D44-4C45-A0FB-26A62ECB6459}">
      <dsp:nvSpPr>
        <dsp:cNvPr id="0" name=""/>
        <dsp:cNvSpPr/>
      </dsp:nvSpPr>
      <dsp:spPr>
        <a:xfrm>
          <a:off x="1657193" y="325347"/>
          <a:ext cx="801419" cy="6411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 err="1"/>
            <a:t>rename_columns</a:t>
          </a:r>
          <a:endParaRPr lang="en-DE" sz="1100" kern="1200" dirty="0"/>
        </a:p>
      </dsp:txBody>
      <dsp:txXfrm>
        <a:off x="1675971" y="344125"/>
        <a:ext cx="763863" cy="603579"/>
      </dsp:txXfrm>
    </dsp:sp>
    <dsp:sp modelId="{FCA7CF2B-C219-4744-BD4D-73525501397B}">
      <dsp:nvSpPr>
        <dsp:cNvPr id="0" name=""/>
        <dsp:cNvSpPr/>
      </dsp:nvSpPr>
      <dsp:spPr>
        <a:xfrm rot="16200000">
          <a:off x="2087587" y="1274972"/>
          <a:ext cx="1992558" cy="326292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A31CA8-F89E-4591-8426-37C1A8797ACB}">
      <dsp:nvSpPr>
        <dsp:cNvPr id="0" name=""/>
        <dsp:cNvSpPr/>
      </dsp:nvSpPr>
      <dsp:spPr>
        <a:xfrm>
          <a:off x="2683156" y="121271"/>
          <a:ext cx="801419" cy="6411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 err="1"/>
            <a:t>filter_rows</a:t>
          </a:r>
          <a:endParaRPr lang="en-DE" sz="1100" kern="1200" dirty="0"/>
        </a:p>
      </dsp:txBody>
      <dsp:txXfrm>
        <a:off x="2701934" y="140049"/>
        <a:ext cx="763863" cy="603579"/>
      </dsp:txXfrm>
    </dsp:sp>
    <dsp:sp modelId="{F2C405E3-DF94-48AA-8C6B-3B15A4853EF0}">
      <dsp:nvSpPr>
        <dsp:cNvPr id="0" name=""/>
        <dsp:cNvSpPr/>
      </dsp:nvSpPr>
      <dsp:spPr>
        <a:xfrm rot="17550000">
          <a:off x="2732290" y="1403211"/>
          <a:ext cx="1992558" cy="326292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BB76761-CFB5-4D78-AF2B-919E65D633F0}">
      <dsp:nvSpPr>
        <dsp:cNvPr id="0" name=""/>
        <dsp:cNvSpPr/>
      </dsp:nvSpPr>
      <dsp:spPr>
        <a:xfrm>
          <a:off x="3709119" y="325347"/>
          <a:ext cx="801419" cy="6411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 err="1"/>
            <a:t>add_new_column</a:t>
          </a:r>
          <a:endParaRPr lang="en-DE" sz="1100" kern="1200" dirty="0"/>
        </a:p>
      </dsp:txBody>
      <dsp:txXfrm>
        <a:off x="3727897" y="344125"/>
        <a:ext cx="763863" cy="603579"/>
      </dsp:txXfrm>
    </dsp:sp>
    <dsp:sp modelId="{8D44E9FC-E9F2-4183-A06C-D8BE1FEB7BA9}">
      <dsp:nvSpPr>
        <dsp:cNvPr id="0" name=""/>
        <dsp:cNvSpPr/>
      </dsp:nvSpPr>
      <dsp:spPr>
        <a:xfrm rot="18900000">
          <a:off x="3278843" y="1768406"/>
          <a:ext cx="1992558" cy="326292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45CA98-D655-46B9-99B6-2EB37F27CDCB}">
      <dsp:nvSpPr>
        <dsp:cNvPr id="0" name=""/>
        <dsp:cNvSpPr/>
      </dsp:nvSpPr>
      <dsp:spPr>
        <a:xfrm>
          <a:off x="4578888" y="906509"/>
          <a:ext cx="801419" cy="6411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1" kern="1200" dirty="0" err="1"/>
            <a:t>change_column_type</a:t>
          </a:r>
          <a:endParaRPr lang="en-DE" sz="1100" b="1" kern="1200" dirty="0"/>
        </a:p>
      </dsp:txBody>
      <dsp:txXfrm>
        <a:off x="4597666" y="925287"/>
        <a:ext cx="763863" cy="603579"/>
      </dsp:txXfrm>
    </dsp:sp>
    <dsp:sp modelId="{35B500C8-66F2-4BC2-80D5-D17BE9030851}">
      <dsp:nvSpPr>
        <dsp:cNvPr id="0" name=""/>
        <dsp:cNvSpPr/>
      </dsp:nvSpPr>
      <dsp:spPr>
        <a:xfrm rot="20250000">
          <a:off x="3644038" y="2314959"/>
          <a:ext cx="1992558" cy="326292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8FD3B7-1102-4044-B9D2-7D314F44E2E8}">
      <dsp:nvSpPr>
        <dsp:cNvPr id="0" name=""/>
        <dsp:cNvSpPr/>
      </dsp:nvSpPr>
      <dsp:spPr>
        <a:xfrm>
          <a:off x="5160049" y="1776278"/>
          <a:ext cx="801419" cy="6411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 err="1"/>
            <a:t>standardize_date_column</a:t>
          </a:r>
          <a:endParaRPr lang="en-DE" sz="1100" kern="1200" dirty="0"/>
        </a:p>
      </dsp:txBody>
      <dsp:txXfrm>
        <a:off x="5178827" y="1795056"/>
        <a:ext cx="763863" cy="603579"/>
      </dsp:txXfrm>
    </dsp:sp>
    <dsp:sp modelId="{BE59E1CA-B591-461E-9213-0C92C158B556}">
      <dsp:nvSpPr>
        <dsp:cNvPr id="0" name=""/>
        <dsp:cNvSpPr/>
      </dsp:nvSpPr>
      <dsp:spPr>
        <a:xfrm>
          <a:off x="3772278" y="2959662"/>
          <a:ext cx="1992558" cy="326292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42DB40-617F-4DCA-B082-CEC7EFA118F1}">
      <dsp:nvSpPr>
        <dsp:cNvPr id="0" name=""/>
        <dsp:cNvSpPr/>
      </dsp:nvSpPr>
      <dsp:spPr>
        <a:xfrm>
          <a:off x="5364126" y="2802241"/>
          <a:ext cx="801419" cy="6411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 err="1"/>
            <a:t>rename_year_columns</a:t>
          </a:r>
          <a:endParaRPr lang="en-DE" sz="1100" kern="1200" dirty="0"/>
        </a:p>
      </dsp:txBody>
      <dsp:txXfrm>
        <a:off x="5382904" y="2821019"/>
        <a:ext cx="763863" cy="60357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34B13D-CD30-4B0B-BF7F-04E463EAC4A5}">
      <dsp:nvSpPr>
        <dsp:cNvPr id="0" name=""/>
        <dsp:cNvSpPr/>
      </dsp:nvSpPr>
      <dsp:spPr>
        <a:xfrm>
          <a:off x="1626" y="496902"/>
          <a:ext cx="1820523" cy="702722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FC15DF-3445-4F1A-B2F5-2FD3E47960A8}">
      <dsp:nvSpPr>
        <dsp:cNvPr id="0" name=""/>
        <dsp:cNvSpPr/>
      </dsp:nvSpPr>
      <dsp:spPr>
        <a:xfrm>
          <a:off x="487099" y="672583"/>
          <a:ext cx="1537330" cy="7027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Data Sources (URLs)</a:t>
          </a:r>
          <a:endParaRPr lang="en-DE" sz="1600" kern="1200" dirty="0"/>
        </a:p>
      </dsp:txBody>
      <dsp:txXfrm>
        <a:off x="507681" y="693165"/>
        <a:ext cx="1496166" cy="661558"/>
      </dsp:txXfrm>
    </dsp:sp>
    <dsp:sp modelId="{7155FD61-898E-4AAA-9028-008221D6E50A}">
      <dsp:nvSpPr>
        <dsp:cNvPr id="0" name=""/>
        <dsp:cNvSpPr/>
      </dsp:nvSpPr>
      <dsp:spPr>
        <a:xfrm>
          <a:off x="2081068" y="496902"/>
          <a:ext cx="1820523" cy="702722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B5D64B-6990-4C1A-808C-1615AE1EA9E8}">
      <dsp:nvSpPr>
        <dsp:cNvPr id="0" name=""/>
        <dsp:cNvSpPr/>
      </dsp:nvSpPr>
      <dsp:spPr>
        <a:xfrm>
          <a:off x="2566541" y="672583"/>
          <a:ext cx="1537330" cy="7027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Extractor</a:t>
          </a:r>
          <a:endParaRPr lang="en-DE" sz="1600" kern="1200" dirty="0"/>
        </a:p>
      </dsp:txBody>
      <dsp:txXfrm>
        <a:off x="2587123" y="693165"/>
        <a:ext cx="1496166" cy="661558"/>
      </dsp:txXfrm>
    </dsp:sp>
    <dsp:sp modelId="{457A74D3-EBEA-461A-B559-EDA8C0B9CF67}">
      <dsp:nvSpPr>
        <dsp:cNvPr id="0" name=""/>
        <dsp:cNvSpPr/>
      </dsp:nvSpPr>
      <dsp:spPr>
        <a:xfrm>
          <a:off x="4160511" y="496902"/>
          <a:ext cx="1820523" cy="702722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F64471-C8B7-480D-9E05-C15BC10C03B7}">
      <dsp:nvSpPr>
        <dsp:cNvPr id="0" name=""/>
        <dsp:cNvSpPr/>
      </dsp:nvSpPr>
      <dsp:spPr>
        <a:xfrm>
          <a:off x="4645983" y="672583"/>
          <a:ext cx="1537330" cy="7027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ransform</a:t>
          </a:r>
          <a:endParaRPr lang="en-DE" sz="1600" kern="1200" dirty="0"/>
        </a:p>
      </dsp:txBody>
      <dsp:txXfrm>
        <a:off x="4666565" y="693165"/>
        <a:ext cx="1496166" cy="661558"/>
      </dsp:txXfrm>
    </dsp:sp>
    <dsp:sp modelId="{F67B4C6D-9306-4DEC-995E-251C08E23D9C}">
      <dsp:nvSpPr>
        <dsp:cNvPr id="0" name=""/>
        <dsp:cNvSpPr/>
      </dsp:nvSpPr>
      <dsp:spPr>
        <a:xfrm>
          <a:off x="6239953" y="496902"/>
          <a:ext cx="1820523" cy="702722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2EFB9F-D09D-4B94-97B7-A11348F645DD}">
      <dsp:nvSpPr>
        <dsp:cNvPr id="0" name=""/>
        <dsp:cNvSpPr/>
      </dsp:nvSpPr>
      <dsp:spPr>
        <a:xfrm>
          <a:off x="6725426" y="672583"/>
          <a:ext cx="1537330" cy="7027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Loader</a:t>
          </a:r>
          <a:endParaRPr lang="en-DE" sz="1600" kern="1200" dirty="0"/>
        </a:p>
      </dsp:txBody>
      <dsp:txXfrm>
        <a:off x="6746008" y="693165"/>
        <a:ext cx="1496166" cy="661558"/>
      </dsp:txXfrm>
    </dsp:sp>
    <dsp:sp modelId="{994987C8-29A3-4B74-A19F-3F1C69B05CD6}">
      <dsp:nvSpPr>
        <dsp:cNvPr id="0" name=""/>
        <dsp:cNvSpPr/>
      </dsp:nvSpPr>
      <dsp:spPr>
        <a:xfrm>
          <a:off x="8319395" y="496902"/>
          <a:ext cx="1820523" cy="702722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560946-5511-430A-807C-759B2888ED34}">
      <dsp:nvSpPr>
        <dsp:cNvPr id="0" name=""/>
        <dsp:cNvSpPr/>
      </dsp:nvSpPr>
      <dsp:spPr>
        <a:xfrm>
          <a:off x="8804868" y="672583"/>
          <a:ext cx="1537330" cy="7027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DB (SQLite)</a:t>
          </a:r>
          <a:endParaRPr lang="en-DE" sz="1600" kern="1200" dirty="0"/>
        </a:p>
      </dsp:txBody>
      <dsp:txXfrm>
        <a:off x="8825450" y="693165"/>
        <a:ext cx="1496166" cy="66155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BCC5EA-E36B-4B20-AF9B-950C49D95EE2}">
      <dsp:nvSpPr>
        <dsp:cNvPr id="0" name=""/>
        <dsp:cNvSpPr/>
      </dsp:nvSpPr>
      <dsp:spPr>
        <a:xfrm>
          <a:off x="2170702" y="1310715"/>
          <a:ext cx="1250262" cy="125026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Helper</a:t>
          </a:r>
          <a:endParaRPr lang="en-DE" sz="1000" b="1" kern="1200" dirty="0"/>
        </a:p>
      </dsp:txBody>
      <dsp:txXfrm>
        <a:off x="2353799" y="1493812"/>
        <a:ext cx="884068" cy="884068"/>
      </dsp:txXfrm>
    </dsp:sp>
    <dsp:sp modelId="{D50290E8-6739-40C7-8EDE-2A4C7E0BCBFD}">
      <dsp:nvSpPr>
        <dsp:cNvPr id="0" name=""/>
        <dsp:cNvSpPr/>
      </dsp:nvSpPr>
      <dsp:spPr>
        <a:xfrm rot="11700000">
          <a:off x="1223769" y="1461278"/>
          <a:ext cx="931728" cy="35632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127E1A-8765-4443-A6FD-56D083C19E0B}">
      <dsp:nvSpPr>
        <dsp:cNvPr id="0" name=""/>
        <dsp:cNvSpPr/>
      </dsp:nvSpPr>
      <dsp:spPr>
        <a:xfrm>
          <a:off x="645768" y="1043767"/>
          <a:ext cx="1187748" cy="950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/>
            <a:t>fetch_table</a:t>
          </a:r>
          <a:endParaRPr lang="en-DE" sz="1100" kern="1200" dirty="0"/>
        </a:p>
      </dsp:txBody>
      <dsp:txXfrm>
        <a:off x="673598" y="1071597"/>
        <a:ext cx="1132088" cy="894539"/>
      </dsp:txXfrm>
    </dsp:sp>
    <dsp:sp modelId="{A0A84648-39A8-4802-9A10-7E47E610847D}">
      <dsp:nvSpPr>
        <dsp:cNvPr id="0" name=""/>
        <dsp:cNvSpPr/>
      </dsp:nvSpPr>
      <dsp:spPr>
        <a:xfrm rot="14700000">
          <a:off x="1845977" y="719759"/>
          <a:ext cx="931728" cy="35632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DDDFB0-3F44-40C8-91C8-D09E1FD7AD82}">
      <dsp:nvSpPr>
        <dsp:cNvPr id="0" name=""/>
        <dsp:cNvSpPr/>
      </dsp:nvSpPr>
      <dsp:spPr>
        <a:xfrm>
          <a:off x="1521084" y="606"/>
          <a:ext cx="1187748" cy="950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/>
            <a:t>prepare_data_for_maps</a:t>
          </a:r>
          <a:endParaRPr lang="en-DE" sz="1100" kern="1200" dirty="0"/>
        </a:p>
      </dsp:txBody>
      <dsp:txXfrm>
        <a:off x="1548914" y="28436"/>
        <a:ext cx="1132088" cy="894539"/>
      </dsp:txXfrm>
    </dsp:sp>
    <dsp:sp modelId="{EEE444AA-6D71-4573-BDE8-606EACC47028}">
      <dsp:nvSpPr>
        <dsp:cNvPr id="0" name=""/>
        <dsp:cNvSpPr/>
      </dsp:nvSpPr>
      <dsp:spPr>
        <a:xfrm rot="17700000">
          <a:off x="2813961" y="719759"/>
          <a:ext cx="931728" cy="35632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08EBEB-4ADF-4D9B-BF55-3E5027E3D08B}">
      <dsp:nvSpPr>
        <dsp:cNvPr id="0" name=""/>
        <dsp:cNvSpPr/>
      </dsp:nvSpPr>
      <dsp:spPr>
        <a:xfrm>
          <a:off x="2882834" y="606"/>
          <a:ext cx="1187748" cy="950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 err="1"/>
            <a:t>reshape_land_cover_data</a:t>
          </a:r>
          <a:endParaRPr lang="en-DE" sz="1100" kern="1200" dirty="0"/>
        </a:p>
      </dsp:txBody>
      <dsp:txXfrm>
        <a:off x="2910664" y="28436"/>
        <a:ext cx="1132088" cy="894539"/>
      </dsp:txXfrm>
    </dsp:sp>
    <dsp:sp modelId="{3392AD28-E887-4309-870D-4D5EDAB2B251}">
      <dsp:nvSpPr>
        <dsp:cNvPr id="0" name=""/>
        <dsp:cNvSpPr/>
      </dsp:nvSpPr>
      <dsp:spPr>
        <a:xfrm rot="20700000">
          <a:off x="3436170" y="1461278"/>
          <a:ext cx="931728" cy="35632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25AC09-2D44-4C45-A0FB-26A62ECB6459}">
      <dsp:nvSpPr>
        <dsp:cNvPr id="0" name=""/>
        <dsp:cNvSpPr/>
      </dsp:nvSpPr>
      <dsp:spPr>
        <a:xfrm>
          <a:off x="3758150" y="1043767"/>
          <a:ext cx="1187748" cy="950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/>
            <a:t>aggregate_average_change</a:t>
          </a:r>
          <a:endParaRPr lang="en-DE" sz="1100" kern="1200" dirty="0"/>
        </a:p>
      </dsp:txBody>
      <dsp:txXfrm>
        <a:off x="3785980" y="1071597"/>
        <a:ext cx="1132088" cy="89453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BCC5EA-E36B-4B20-AF9B-950C49D95EE2}">
      <dsp:nvSpPr>
        <dsp:cNvPr id="0" name=""/>
        <dsp:cNvSpPr/>
      </dsp:nvSpPr>
      <dsp:spPr>
        <a:xfrm>
          <a:off x="2170702" y="1310715"/>
          <a:ext cx="1250262" cy="125026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Visualization</a:t>
          </a:r>
          <a:endParaRPr lang="en-DE" sz="1000" b="1" kern="1200" dirty="0"/>
        </a:p>
      </dsp:txBody>
      <dsp:txXfrm>
        <a:off x="2353799" y="1493812"/>
        <a:ext cx="884068" cy="884068"/>
      </dsp:txXfrm>
    </dsp:sp>
    <dsp:sp modelId="{D50290E8-6739-40C7-8EDE-2A4C7E0BCBFD}">
      <dsp:nvSpPr>
        <dsp:cNvPr id="0" name=""/>
        <dsp:cNvSpPr/>
      </dsp:nvSpPr>
      <dsp:spPr>
        <a:xfrm rot="11700000">
          <a:off x="1223769" y="1461278"/>
          <a:ext cx="931728" cy="35632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127E1A-8765-4443-A6FD-56D083C19E0B}">
      <dsp:nvSpPr>
        <dsp:cNvPr id="0" name=""/>
        <dsp:cNvSpPr/>
      </dsp:nvSpPr>
      <dsp:spPr>
        <a:xfrm>
          <a:off x="645768" y="1043767"/>
          <a:ext cx="1187748" cy="950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/>
            <a:t>plot_average_value_map</a:t>
          </a:r>
          <a:endParaRPr lang="en-DE" sz="1100" kern="1200" dirty="0"/>
        </a:p>
      </dsp:txBody>
      <dsp:txXfrm>
        <a:off x="673598" y="1071597"/>
        <a:ext cx="1132088" cy="894539"/>
      </dsp:txXfrm>
    </dsp:sp>
    <dsp:sp modelId="{A0A84648-39A8-4802-9A10-7E47E610847D}">
      <dsp:nvSpPr>
        <dsp:cNvPr id="0" name=""/>
        <dsp:cNvSpPr/>
      </dsp:nvSpPr>
      <dsp:spPr>
        <a:xfrm rot="14700000">
          <a:off x="1845977" y="719759"/>
          <a:ext cx="931728" cy="35632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DDDFB0-3F44-40C8-91C8-D09E1FD7AD82}">
      <dsp:nvSpPr>
        <dsp:cNvPr id="0" name=""/>
        <dsp:cNvSpPr/>
      </dsp:nvSpPr>
      <dsp:spPr>
        <a:xfrm>
          <a:off x="1521084" y="606"/>
          <a:ext cx="1187748" cy="950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/>
            <a:t>plot_column_over_time</a:t>
          </a:r>
          <a:endParaRPr lang="en-DE" sz="1100" kern="1200" dirty="0"/>
        </a:p>
      </dsp:txBody>
      <dsp:txXfrm>
        <a:off x="1548914" y="28436"/>
        <a:ext cx="1132088" cy="894539"/>
      </dsp:txXfrm>
    </dsp:sp>
    <dsp:sp modelId="{EEE444AA-6D71-4573-BDE8-606EACC47028}">
      <dsp:nvSpPr>
        <dsp:cNvPr id="0" name=""/>
        <dsp:cNvSpPr/>
      </dsp:nvSpPr>
      <dsp:spPr>
        <a:xfrm rot="17700000">
          <a:off x="2813961" y="719759"/>
          <a:ext cx="931728" cy="35632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08EBEB-4ADF-4D9B-BF55-3E5027E3D08B}">
      <dsp:nvSpPr>
        <dsp:cNvPr id="0" name=""/>
        <dsp:cNvSpPr/>
      </dsp:nvSpPr>
      <dsp:spPr>
        <a:xfrm>
          <a:off x="2882834" y="606"/>
          <a:ext cx="1187748" cy="950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/>
            <a:t>plot_average_change</a:t>
          </a:r>
          <a:endParaRPr lang="en-DE" sz="1100" kern="1200" dirty="0"/>
        </a:p>
      </dsp:txBody>
      <dsp:txXfrm>
        <a:off x="2910664" y="28436"/>
        <a:ext cx="1132088" cy="894539"/>
      </dsp:txXfrm>
    </dsp:sp>
    <dsp:sp modelId="{3392AD28-E887-4309-870D-4D5EDAB2B251}">
      <dsp:nvSpPr>
        <dsp:cNvPr id="0" name=""/>
        <dsp:cNvSpPr/>
      </dsp:nvSpPr>
      <dsp:spPr>
        <a:xfrm rot="20700000">
          <a:off x="3436170" y="1461278"/>
          <a:ext cx="931728" cy="35632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25AC09-2D44-4C45-A0FB-26A62ECB6459}">
      <dsp:nvSpPr>
        <dsp:cNvPr id="0" name=""/>
        <dsp:cNvSpPr/>
      </dsp:nvSpPr>
      <dsp:spPr>
        <a:xfrm>
          <a:off x="3758150" y="1043767"/>
          <a:ext cx="1187748" cy="950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 err="1"/>
            <a:t>plot_scatter</a:t>
          </a:r>
          <a:endParaRPr lang="en-DE" sz="1100" kern="1200" dirty="0"/>
        </a:p>
      </dsp:txBody>
      <dsp:txXfrm>
        <a:off x="3785980" y="1071597"/>
        <a:ext cx="1132088" cy="89453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E51301-658A-4CBB-B588-5856939AB1D8}">
      <dsp:nvSpPr>
        <dsp:cNvPr id="0" name=""/>
        <dsp:cNvSpPr/>
      </dsp:nvSpPr>
      <dsp:spPr>
        <a:xfrm rot="5400037">
          <a:off x="2618402" y="2326871"/>
          <a:ext cx="31501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1501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E2FF80-F29A-4785-9E2E-34EA2742BC33}">
      <dsp:nvSpPr>
        <dsp:cNvPr id="0" name=""/>
        <dsp:cNvSpPr/>
      </dsp:nvSpPr>
      <dsp:spPr>
        <a:xfrm rot="16199992">
          <a:off x="2588664" y="928967"/>
          <a:ext cx="37450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7450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0E721D-6574-4E8A-B37B-973292CE36B3}">
      <dsp:nvSpPr>
        <dsp:cNvPr id="0" name=""/>
        <dsp:cNvSpPr/>
      </dsp:nvSpPr>
      <dsp:spPr>
        <a:xfrm>
          <a:off x="1851914" y="1116220"/>
          <a:ext cx="1848010" cy="105314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CI</a:t>
          </a:r>
          <a:endParaRPr lang="en-DE" sz="1000" b="1" kern="1200" dirty="0"/>
        </a:p>
      </dsp:txBody>
      <dsp:txXfrm>
        <a:off x="1903324" y="1167630"/>
        <a:ext cx="1745190" cy="950321"/>
      </dsp:txXfrm>
    </dsp:sp>
    <dsp:sp modelId="{7F097C9F-D701-4AF5-B7D5-CF6D94FC45B2}">
      <dsp:nvSpPr>
        <dsp:cNvPr id="0" name=""/>
        <dsp:cNvSpPr/>
      </dsp:nvSpPr>
      <dsp:spPr>
        <a:xfrm>
          <a:off x="1851912" y="36110"/>
          <a:ext cx="1848006" cy="7056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/>
            <a:t>Tests (</a:t>
          </a:r>
          <a:r>
            <a:rPr lang="de-DE" sz="1100" b="0" kern="1200" dirty="0" err="1"/>
            <a:t>Pytests</a:t>
          </a:r>
          <a:r>
            <a:rPr lang="de-DE" sz="1100" b="0" kern="1200" dirty="0"/>
            <a:t>)</a:t>
          </a:r>
          <a:endParaRPr lang="en-DE" sz="1100" kern="1200" dirty="0"/>
        </a:p>
      </dsp:txBody>
      <dsp:txXfrm>
        <a:off x="1886357" y="70555"/>
        <a:ext cx="1779116" cy="636714"/>
      </dsp:txXfrm>
    </dsp:sp>
    <dsp:sp modelId="{43C1A7E2-84A5-4103-B264-B9242A1CCDDA}">
      <dsp:nvSpPr>
        <dsp:cNvPr id="0" name=""/>
        <dsp:cNvSpPr/>
      </dsp:nvSpPr>
      <dsp:spPr>
        <a:xfrm>
          <a:off x="1851903" y="2484380"/>
          <a:ext cx="1848006" cy="5512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Code Quality Checks</a:t>
          </a:r>
          <a:endParaRPr lang="en-DE" sz="1100" kern="1200" dirty="0"/>
        </a:p>
      </dsp:txBody>
      <dsp:txXfrm>
        <a:off x="1878813" y="2511290"/>
        <a:ext cx="1794186" cy="497433"/>
      </dsp:txXfrm>
    </dsp:sp>
    <dsp:sp modelId="{004058A7-B3C3-4BAE-8F8F-0149B5850DB6}">
      <dsp:nvSpPr>
        <dsp:cNvPr id="0" name=""/>
        <dsp:cNvSpPr/>
      </dsp:nvSpPr>
      <dsp:spPr>
        <a:xfrm rot="1318490">
          <a:off x="3420073" y="3235980"/>
          <a:ext cx="1070800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70800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6F220D-73CF-4610-AD45-F1BBCF83A0E2}">
      <dsp:nvSpPr>
        <dsp:cNvPr id="0" name=""/>
        <dsp:cNvSpPr/>
      </dsp:nvSpPr>
      <dsp:spPr>
        <a:xfrm>
          <a:off x="4451976" y="3380647"/>
          <a:ext cx="1090153" cy="5512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Pre-Commit Hooks</a:t>
          </a:r>
          <a:endParaRPr lang="en-DE" sz="1100" kern="1200" dirty="0"/>
        </a:p>
      </dsp:txBody>
      <dsp:txXfrm>
        <a:off x="4478886" y="3407557"/>
        <a:ext cx="1036333" cy="497433"/>
      </dsp:txXfrm>
    </dsp:sp>
    <dsp:sp modelId="{F5CDD970-4BD3-4E91-963D-B7918861D85C}">
      <dsp:nvSpPr>
        <dsp:cNvPr id="0" name=""/>
        <dsp:cNvSpPr/>
      </dsp:nvSpPr>
      <dsp:spPr>
        <a:xfrm rot="5286666">
          <a:off x="2482305" y="3348472"/>
          <a:ext cx="62601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26017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9838A8-F145-4489-9534-1F99377E024A}">
      <dsp:nvSpPr>
        <dsp:cNvPr id="0" name=""/>
        <dsp:cNvSpPr/>
      </dsp:nvSpPr>
      <dsp:spPr>
        <a:xfrm>
          <a:off x="2269644" y="3661311"/>
          <a:ext cx="1090153" cy="5512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Ruff</a:t>
          </a:r>
          <a:endParaRPr lang="en-DE" sz="1100" kern="1200" dirty="0"/>
        </a:p>
      </dsp:txBody>
      <dsp:txXfrm>
        <a:off x="2296554" y="3688221"/>
        <a:ext cx="1036333" cy="497433"/>
      </dsp:txXfrm>
    </dsp:sp>
    <dsp:sp modelId="{519C209A-BAFA-4E00-B5E5-22699DF4825A}">
      <dsp:nvSpPr>
        <dsp:cNvPr id="0" name=""/>
        <dsp:cNvSpPr/>
      </dsp:nvSpPr>
      <dsp:spPr>
        <a:xfrm rot="9482723">
          <a:off x="1050980" y="3237588"/>
          <a:ext cx="1080339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80339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109237-CE48-4499-9920-250D515A488A}">
      <dsp:nvSpPr>
        <dsp:cNvPr id="0" name=""/>
        <dsp:cNvSpPr/>
      </dsp:nvSpPr>
      <dsp:spPr>
        <a:xfrm>
          <a:off x="0" y="3383639"/>
          <a:ext cx="1090153" cy="5512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Black (PEP 8)</a:t>
          </a:r>
          <a:endParaRPr lang="en-DE" sz="1100" kern="1200" dirty="0"/>
        </a:p>
      </dsp:txBody>
      <dsp:txXfrm>
        <a:off x="26910" y="3410549"/>
        <a:ext cx="1036333" cy="4974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767376-0B33-4217-AE56-56D9643C06F1}" type="datetimeFigureOut">
              <a:rPr lang="de-DE" smtClean="0"/>
              <a:t>10.07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4EA86-25C6-4F86-9E26-3EA69B71F19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59FC5-228A-47D0-AD07-EE122BAE1BE9}" type="datetimeFigureOut">
              <a:rPr lang="de-DE" smtClean="0"/>
              <a:t>10.07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1C4DF-6CA6-480F-9C53-A2D3867D0D7B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de-DE" dirty="0"/>
              <a:t>Präsentationstitel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Präsentation: Präsentationsanlass, Kunde, Kooperationspartner, Vorlesung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42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1" pos="3114">
          <p15:clr>
            <a:srgbClr val="A4A3A4"/>
          </p15:clr>
        </p15:guide>
        <p15:guide id="32" orient="horz" pos="2704">
          <p15:clr>
            <a:srgbClr val="A4A3A4"/>
          </p15:clr>
        </p15:guide>
        <p15:guide id="33" orient="horz" pos="3407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7" name="Danke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8614283" y="4811018"/>
            <a:ext cx="273792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6000" b="1" cap="all" baseline="0" dirty="0"/>
              <a:t>Danke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  <p:sp>
        <p:nvSpPr>
          <p:cNvPr id="26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F0268BB5-1AE8-4E43-8904-9F7B605F8948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209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CD0CC145-3D25-4C74-8E62-F67CF24A3C6C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839788" y="333375"/>
            <a:ext cx="10303200" cy="5032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82D3B95-F798-4B7A-8F1A-2AB7A616F8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90" y="1268761"/>
            <a:ext cx="10512421" cy="51129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4650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7" orient="horz" pos="527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>
          <p15:clr>
            <a:srgbClr val="5ACBF0"/>
          </p15:clr>
        </p15:guide>
        <p15:guide id="13" pos="2048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>
          <p15:clr>
            <a:srgbClr val="5ACBF0"/>
          </p15:clr>
        </p15:guide>
        <p15:guide id="17" pos="5632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weis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Textfeld 198"/>
          <p:cNvSpPr txBox="1"/>
          <p:nvPr userDrawn="1"/>
        </p:nvSpPr>
        <p:spPr>
          <a:xfrm>
            <a:off x="839788" y="333375"/>
            <a:ext cx="10303625" cy="5032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800" b="1" dirty="0">
                <a:latin typeface="+mj-lt"/>
              </a:rPr>
              <a:t>Die Einhaltung der PowerPoint-Anweisungen ermöglicht die Erstellung qualitativ </a:t>
            </a:r>
            <a:br>
              <a:rPr lang="de-DE" sz="1800" b="1" dirty="0">
                <a:latin typeface="+mj-lt"/>
              </a:rPr>
            </a:br>
            <a:r>
              <a:rPr lang="de-DE" sz="1800" b="1" dirty="0">
                <a:latin typeface="+mj-lt"/>
              </a:rPr>
              <a:t>hochwertiger Folien, um Forschungsergebnisse angemessen repräsentieren zu können.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11143413" y="0"/>
            <a:ext cx="1048586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18000" rIns="1800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432048" y="3795891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36123" y="3493909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432048" y="617676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432048" y="200697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9,6</a:t>
            </a: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32048" y="7046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8,2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432048" y="11364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578385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611921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5928320" y="-670643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636084" y="-358463"/>
            <a:ext cx="45534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098502" y="-358463"/>
            <a:ext cx="50741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2866093" y="-414229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9</a:t>
            </a:r>
          </a:p>
        </p:txBody>
      </p:sp>
      <p:sp>
        <p:nvSpPr>
          <p:cNvPr id="53" name="Textfeld 52"/>
          <p:cNvSpPr txBox="1"/>
          <p:nvPr userDrawn="1"/>
        </p:nvSpPr>
        <p:spPr>
          <a:xfrm>
            <a:off x="8262018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1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354012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1</a:t>
            </a:r>
          </a:p>
        </p:txBody>
      </p:sp>
      <p:sp>
        <p:nvSpPr>
          <p:cNvPr id="55" name="Textfeld 54"/>
          <p:cNvSpPr txBox="1"/>
          <p:nvPr userDrawn="1"/>
        </p:nvSpPr>
        <p:spPr>
          <a:xfrm>
            <a:off x="4440238" y="-416250"/>
            <a:ext cx="389433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4,6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8040688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5,4</a:t>
            </a:r>
          </a:p>
        </p:txBody>
      </p:sp>
      <p:sp>
        <p:nvSpPr>
          <p:cNvPr id="57" name="Textfeld 56"/>
          <p:cNvSpPr txBox="1"/>
          <p:nvPr userDrawn="1"/>
        </p:nvSpPr>
        <p:spPr>
          <a:xfrm>
            <a:off x="376145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5,4</a:t>
            </a:r>
          </a:p>
        </p:txBody>
      </p:sp>
      <p:sp>
        <p:nvSpPr>
          <p:cNvPr id="58" name="Textfeld 57"/>
          <p:cNvSpPr txBox="1"/>
          <p:nvPr userDrawn="1"/>
        </p:nvSpPr>
        <p:spPr>
          <a:xfrm>
            <a:off x="8940800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9</a:t>
            </a:r>
          </a:p>
        </p:txBody>
      </p:sp>
      <p:sp>
        <p:nvSpPr>
          <p:cNvPr id="59" name="Textfeld 58"/>
          <p:cNvSpPr txBox="1"/>
          <p:nvPr userDrawn="1"/>
        </p:nvSpPr>
        <p:spPr>
          <a:xfrm>
            <a:off x="7371836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4,6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-779643" y="364490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94" name="Rechteck 93"/>
          <p:cNvSpPr/>
          <p:nvPr userDrawn="1"/>
        </p:nvSpPr>
        <p:spPr>
          <a:xfrm>
            <a:off x="839788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 userDrawn="1"/>
        </p:nvSpPr>
        <p:spPr>
          <a:xfrm>
            <a:off x="3540125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 userDrawn="1"/>
        </p:nvSpPr>
        <p:spPr>
          <a:xfrm>
            <a:off x="6240463" y="7036841"/>
            <a:ext cx="2411411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 userDrawn="1"/>
        </p:nvSpPr>
        <p:spPr>
          <a:xfrm>
            <a:off x="8940800" y="7036841"/>
            <a:ext cx="2412999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 userDrawn="1"/>
        </p:nvSpPr>
        <p:spPr>
          <a:xfrm>
            <a:off x="839788" y="7232595"/>
            <a:ext cx="3311525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4440237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 userDrawn="1"/>
        </p:nvSpPr>
        <p:spPr>
          <a:xfrm>
            <a:off x="8040688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11143413" y="0"/>
            <a:ext cx="208800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207" y="1"/>
            <a:ext cx="841253" cy="841253"/>
            <a:chOff x="5757863" y="1597025"/>
            <a:chExt cx="1971675" cy="1971675"/>
          </a:xfrm>
        </p:grpSpPr>
        <p:sp>
          <p:nvSpPr>
            <p:cNvPr id="88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/>
          <p:cNvSpPr/>
          <p:nvPr userDrawn="1"/>
        </p:nvSpPr>
        <p:spPr>
          <a:xfrm>
            <a:off x="11143412" y="836613"/>
            <a:ext cx="1048586" cy="208800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Zone</a:t>
            </a:r>
          </a:p>
        </p:txBody>
      </p:sp>
      <p:sp>
        <p:nvSpPr>
          <p:cNvPr id="194" name="Freihandform 193"/>
          <p:cNvSpPr/>
          <p:nvPr userDrawn="1"/>
        </p:nvSpPr>
        <p:spPr>
          <a:xfrm>
            <a:off x="6454578" y="4290979"/>
            <a:ext cx="3142960" cy="1874865"/>
          </a:xfrm>
          <a:custGeom>
            <a:avLst/>
            <a:gdLst>
              <a:gd name="connsiteX0" fmla="*/ 0 w 3142960"/>
              <a:gd name="connsiteY0" fmla="*/ 0 h 1874865"/>
              <a:gd name="connsiteX1" fmla="*/ 3142960 w 3142960"/>
              <a:gd name="connsiteY1" fmla="*/ 0 h 1874865"/>
              <a:gd name="connsiteX2" fmla="*/ 3142960 w 3142960"/>
              <a:gd name="connsiteY2" fmla="*/ 1718404 h 1874865"/>
              <a:gd name="connsiteX3" fmla="*/ 2450159 w 3142960"/>
              <a:gd name="connsiteY3" fmla="*/ 1718404 h 1874865"/>
              <a:gd name="connsiteX4" fmla="*/ 2294991 w 3142960"/>
              <a:gd name="connsiteY4" fmla="*/ 1874865 h 1874865"/>
              <a:gd name="connsiteX5" fmla="*/ 0 w 3142960"/>
              <a:gd name="connsiteY5" fmla="*/ 1874865 h 1874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2960" h="1874865">
                <a:moveTo>
                  <a:pt x="0" y="0"/>
                </a:moveTo>
                <a:lnTo>
                  <a:pt x="3142960" y="0"/>
                </a:lnTo>
                <a:lnTo>
                  <a:pt x="3142960" y="1718404"/>
                </a:lnTo>
                <a:lnTo>
                  <a:pt x="2450159" y="1718404"/>
                </a:lnTo>
                <a:lnTo>
                  <a:pt x="2294991" y="1874865"/>
                </a:lnTo>
                <a:lnTo>
                  <a:pt x="0" y="1874865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400" dirty="0">
                <a:solidFill>
                  <a:schemeClr val="tx1"/>
                </a:solidFill>
              </a:rPr>
              <a:t>Änderung </a:t>
            </a:r>
            <a:r>
              <a:rPr lang="de-DE" sz="1400" baseline="0" dirty="0">
                <a:solidFill>
                  <a:schemeClr val="tx1"/>
                </a:solidFill>
              </a:rPr>
              <a:t>Folienlayou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8" name="Freihandform 197"/>
          <p:cNvSpPr/>
          <p:nvPr userDrawn="1"/>
        </p:nvSpPr>
        <p:spPr>
          <a:xfrm>
            <a:off x="9674964" y="4290978"/>
            <a:ext cx="1529999" cy="1718405"/>
          </a:xfrm>
          <a:custGeom>
            <a:avLst/>
            <a:gdLst>
              <a:gd name="connsiteX0" fmla="*/ 73034 w 1529999"/>
              <a:gd name="connsiteY0" fmla="*/ 1 h 1718405"/>
              <a:gd name="connsiteX1" fmla="*/ 1529999 w 1529999"/>
              <a:gd name="connsiteY1" fmla="*/ 1 h 1718405"/>
              <a:gd name="connsiteX2" fmla="*/ 1529999 w 1529999"/>
              <a:gd name="connsiteY2" fmla="*/ 1614533 h 1718405"/>
              <a:gd name="connsiteX3" fmla="*/ 1425886 w 1529999"/>
              <a:gd name="connsiteY3" fmla="*/ 1718405 h 1718405"/>
              <a:gd name="connsiteX4" fmla="*/ 73033 w 1529999"/>
              <a:gd name="connsiteY4" fmla="*/ 1718405 h 1718405"/>
              <a:gd name="connsiteX5" fmla="*/ 73033 w 1529999"/>
              <a:gd name="connsiteY5" fmla="*/ 1718404 h 1718405"/>
              <a:gd name="connsiteX6" fmla="*/ 73034 w 1529999"/>
              <a:gd name="connsiteY6" fmla="*/ 1718404 h 1718405"/>
              <a:gd name="connsiteX7" fmla="*/ 0 w 1529999"/>
              <a:gd name="connsiteY7" fmla="*/ 0 h 1718405"/>
              <a:gd name="connsiteX8" fmla="*/ 73034 w 1529999"/>
              <a:gd name="connsiteY8" fmla="*/ 0 h 1718405"/>
              <a:gd name="connsiteX9" fmla="*/ 73034 w 1529999"/>
              <a:gd name="connsiteY9" fmla="*/ 1 h 1718405"/>
              <a:gd name="connsiteX10" fmla="*/ 73033 w 1529999"/>
              <a:gd name="connsiteY10" fmla="*/ 1 h 1718405"/>
              <a:gd name="connsiteX11" fmla="*/ 73033 w 1529999"/>
              <a:gd name="connsiteY11" fmla="*/ 1718404 h 1718405"/>
              <a:gd name="connsiteX12" fmla="*/ 0 w 1529999"/>
              <a:gd name="connsiteY12" fmla="*/ 1718404 h 1718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29999" h="1718405">
                <a:moveTo>
                  <a:pt x="73034" y="1"/>
                </a:moveTo>
                <a:lnTo>
                  <a:pt x="1529999" y="1"/>
                </a:lnTo>
                <a:lnTo>
                  <a:pt x="1529999" y="1614533"/>
                </a:lnTo>
                <a:lnTo>
                  <a:pt x="1425886" y="1718405"/>
                </a:lnTo>
                <a:lnTo>
                  <a:pt x="73033" y="1718405"/>
                </a:lnTo>
                <a:lnTo>
                  <a:pt x="73033" y="1718404"/>
                </a:lnTo>
                <a:lnTo>
                  <a:pt x="73034" y="1718404"/>
                </a:lnTo>
                <a:close/>
                <a:moveTo>
                  <a:pt x="0" y="0"/>
                </a:moveTo>
                <a:lnTo>
                  <a:pt x="73034" y="0"/>
                </a:lnTo>
                <a:lnTo>
                  <a:pt x="73034" y="1"/>
                </a:lnTo>
                <a:lnTo>
                  <a:pt x="73033" y="1"/>
                </a:lnTo>
                <a:lnTo>
                  <a:pt x="73033" y="1718404"/>
                </a:lnTo>
                <a:lnTo>
                  <a:pt x="0" y="1718404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eine Nutzung</a:t>
            </a:r>
            <a:r>
              <a:rPr lang="de-DE" sz="1400" baseline="0" dirty="0">
                <a:solidFill>
                  <a:schemeClr val="tx1"/>
                </a:solidFill>
              </a:rPr>
              <a:t> </a:t>
            </a:r>
            <a:br>
              <a:rPr lang="de-DE" sz="1400" baseline="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von Konturen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6" name="Grafik 85"/>
          <p:cNvPicPr>
            <a:picLocks noChangeAspect="1"/>
          </p:cNvPicPr>
          <p:nvPr userDrawn="1"/>
        </p:nvPicPr>
        <p:blipFill rotWithShape="1">
          <a:blip r:embed="rId2"/>
          <a:srcRect l="-413" t="-391" r="64380" b="35617"/>
          <a:stretch/>
        </p:blipFill>
        <p:spPr>
          <a:xfrm>
            <a:off x="6523392" y="4362980"/>
            <a:ext cx="902660" cy="1730865"/>
          </a:xfrm>
          <a:prstGeom prst="rect">
            <a:avLst/>
          </a:prstGeom>
        </p:spPr>
      </p:pic>
      <p:sp>
        <p:nvSpPr>
          <p:cNvPr id="89" name="Rechteck 88"/>
          <p:cNvSpPr/>
          <p:nvPr userDrawn="1"/>
        </p:nvSpPr>
        <p:spPr>
          <a:xfrm>
            <a:off x="983657" y="4290980"/>
            <a:ext cx="5396096" cy="1874865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99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90" name="Gruppieren 89"/>
          <p:cNvGrpSpPr/>
          <p:nvPr userDrawn="1"/>
        </p:nvGrpSpPr>
        <p:grpSpPr>
          <a:xfrm>
            <a:off x="1056653" y="5056232"/>
            <a:ext cx="684077" cy="1037613"/>
            <a:chOff x="6857667" y="5091438"/>
            <a:chExt cx="684077" cy="1037613"/>
          </a:xfrm>
        </p:grpSpPr>
        <p:pic>
          <p:nvPicPr>
            <p:cNvPr id="92" name="Grafik 91"/>
            <p:cNvPicPr>
              <a:picLocks noChangeAspect="1"/>
            </p:cNvPicPr>
            <p:nvPr userDrawn="1"/>
          </p:nvPicPr>
          <p:blipFill rotWithShape="1">
            <a:blip r:embed="rId3"/>
            <a:srcRect l="2497" t="18212" r="6605"/>
            <a:stretch/>
          </p:blipFill>
          <p:spPr>
            <a:xfrm>
              <a:off x="6857667" y="5091438"/>
              <a:ext cx="684076" cy="210367"/>
            </a:xfrm>
            <a:prstGeom prst="rect">
              <a:avLst/>
            </a:prstGeom>
          </p:spPr>
        </p:pic>
        <p:pic>
          <p:nvPicPr>
            <p:cNvPr id="93" name="Grafik 9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57668" y="5340624"/>
              <a:ext cx="684076" cy="788427"/>
            </a:xfrm>
            <a:prstGeom prst="rect">
              <a:avLst/>
            </a:prstGeom>
          </p:spPr>
        </p:pic>
      </p:grpSp>
      <p:grpSp>
        <p:nvGrpSpPr>
          <p:cNvPr id="45" name="Gruppieren 44"/>
          <p:cNvGrpSpPr/>
          <p:nvPr userDrawn="1"/>
        </p:nvGrpSpPr>
        <p:grpSpPr>
          <a:xfrm>
            <a:off x="983657" y="1410980"/>
            <a:ext cx="1800000" cy="2808000"/>
            <a:chOff x="839788" y="1269171"/>
            <a:chExt cx="1800000" cy="2808000"/>
          </a:xfrm>
        </p:grpSpPr>
        <p:sp>
          <p:nvSpPr>
            <p:cNvPr id="67" name="Rechteck 66"/>
            <p:cNvSpPr/>
            <p:nvPr userDrawn="1"/>
          </p:nvSpPr>
          <p:spPr>
            <a:xfrm>
              <a:off x="839788" y="1269171"/>
              <a:ext cx="1800000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der Designfarben-Stufung</a:t>
              </a:r>
            </a:p>
          </p:txBody>
        </p:sp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10998" y="1804589"/>
              <a:ext cx="1657581" cy="2200582"/>
            </a:xfrm>
            <a:prstGeom prst="rect">
              <a:avLst/>
            </a:prstGeom>
          </p:spPr>
        </p:pic>
        <p:cxnSp>
          <p:nvCxnSpPr>
            <p:cNvPr id="11" name="Gerader Verbinder 10"/>
            <p:cNvCxnSpPr/>
            <p:nvPr userDrawn="1"/>
          </p:nvCxnSpPr>
          <p:spPr>
            <a:xfrm flipH="1"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/>
            <p:cNvCxnSpPr/>
            <p:nvPr userDrawn="1"/>
          </p:nvCxnSpPr>
          <p:spPr>
            <a:xfrm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 userDrawn="1"/>
          </p:nvCxnSpPr>
          <p:spPr>
            <a:xfrm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/>
            <p:cNvCxnSpPr/>
            <p:nvPr userDrawn="1"/>
          </p:nvCxnSpPr>
          <p:spPr>
            <a:xfrm flipH="1"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/>
          <p:cNvGrpSpPr/>
          <p:nvPr userDrawn="1"/>
        </p:nvGrpSpPr>
        <p:grpSpPr>
          <a:xfrm>
            <a:off x="2853046" y="1410980"/>
            <a:ext cx="1728659" cy="2808000"/>
            <a:chOff x="2711788" y="1269171"/>
            <a:chExt cx="1728659" cy="2808000"/>
          </a:xfrm>
        </p:grpSpPr>
        <p:sp>
          <p:nvSpPr>
            <p:cNvPr id="66" name="Rechteck 65"/>
            <p:cNvSpPr/>
            <p:nvPr userDrawn="1"/>
          </p:nvSpPr>
          <p:spPr>
            <a:xfrm>
              <a:off x="2711788" y="1269171"/>
              <a:ext cx="1728658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von</a:t>
              </a:r>
              <a:r>
                <a:rPr lang="de-DE" sz="1400" baseline="0" dirty="0">
                  <a:solidFill>
                    <a:schemeClr val="tx1"/>
                  </a:solidFill>
                </a:rPr>
                <a:t> Aufzählungszeiche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87075" y="3463386"/>
              <a:ext cx="635580" cy="53854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787074" y="1804589"/>
              <a:ext cx="1581371" cy="60968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787075" y="2974830"/>
              <a:ext cx="1581371" cy="416556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787075" y="2486274"/>
              <a:ext cx="1581371" cy="416556"/>
            </a:xfrm>
            <a:prstGeom prst="rect">
              <a:avLst/>
            </a:prstGeom>
          </p:spPr>
        </p:pic>
        <p:cxnSp>
          <p:nvCxnSpPr>
            <p:cNvPr id="69" name="Gerader Verbinder 68"/>
            <p:cNvCxnSpPr/>
            <p:nvPr userDrawn="1"/>
          </p:nvCxnSpPr>
          <p:spPr>
            <a:xfrm flipH="1"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/>
            <p:cNvSpPr/>
            <p:nvPr userDrawn="1"/>
          </p:nvSpPr>
          <p:spPr>
            <a:xfrm>
              <a:off x="3539910" y="1835432"/>
              <a:ext cx="433462" cy="21589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3987392" y="2280905"/>
              <a:ext cx="381053" cy="133369"/>
            </a:xfrm>
            <a:prstGeom prst="rect">
              <a:avLst/>
            </a:prstGeom>
          </p:spPr>
        </p:pic>
        <p:sp>
          <p:nvSpPr>
            <p:cNvPr id="22" name="Rechteck 21"/>
            <p:cNvSpPr/>
            <p:nvPr userDrawn="1"/>
          </p:nvSpPr>
          <p:spPr>
            <a:xfrm>
              <a:off x="3792265" y="2658552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Gewinkelter Verbinder 23"/>
            <p:cNvCxnSpPr>
              <a:stCxn id="20" idx="2"/>
              <a:endCxn id="22" idx="3"/>
            </p:cNvCxnSpPr>
            <p:nvPr userDrawn="1"/>
          </p:nvCxnSpPr>
          <p:spPr>
            <a:xfrm rot="16200000" flipH="1">
              <a:off x="3488839" y="2319126"/>
              <a:ext cx="643228" cy="107624"/>
            </a:xfrm>
            <a:prstGeom prst="bentConnector4">
              <a:avLst>
                <a:gd name="adj1" fmla="val 63491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74"/>
            <p:cNvSpPr/>
            <p:nvPr userDrawn="1"/>
          </p:nvSpPr>
          <p:spPr>
            <a:xfrm>
              <a:off x="3792265" y="3147108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7" name="Gewinkelter Verbinder 76"/>
            <p:cNvCxnSpPr>
              <a:stCxn id="20" idx="2"/>
              <a:endCxn id="75" idx="3"/>
            </p:cNvCxnSpPr>
            <p:nvPr userDrawn="1"/>
          </p:nvCxnSpPr>
          <p:spPr>
            <a:xfrm rot="16200000" flipH="1">
              <a:off x="3244561" y="2563404"/>
              <a:ext cx="1131784" cy="107624"/>
            </a:xfrm>
            <a:prstGeom prst="bentConnector4">
              <a:avLst>
                <a:gd name="adj1" fmla="val 35506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hteck 102"/>
            <p:cNvSpPr/>
            <p:nvPr userDrawn="1"/>
          </p:nvSpPr>
          <p:spPr>
            <a:xfrm>
              <a:off x="3406141" y="3493908"/>
              <a:ext cx="1034306" cy="508023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0" dirty="0">
                  <a:solidFill>
                    <a:schemeClr val="tx1"/>
                  </a:solidFill>
                </a:rPr>
                <a:t>Listenebene</a:t>
              </a:r>
              <a:r>
                <a:rPr lang="de-DE" sz="1050" dirty="0">
                  <a:solidFill>
                    <a:schemeClr val="tx1"/>
                  </a:solidFill>
                </a:rPr>
                <a:t> anpassen!</a:t>
              </a:r>
            </a:p>
          </p:txBody>
        </p:sp>
        <p:cxnSp>
          <p:nvCxnSpPr>
            <p:cNvPr id="104" name="Gerader Verbinder 103"/>
            <p:cNvCxnSpPr/>
            <p:nvPr userDrawn="1"/>
          </p:nvCxnSpPr>
          <p:spPr>
            <a:xfrm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/>
          <p:cNvGrpSpPr/>
          <p:nvPr userDrawn="1"/>
        </p:nvGrpSpPr>
        <p:grpSpPr>
          <a:xfrm>
            <a:off x="4651095" y="1410980"/>
            <a:ext cx="1728658" cy="2808000"/>
            <a:chOff x="4651095" y="1410980"/>
            <a:chExt cx="1728658" cy="2808000"/>
          </a:xfrm>
        </p:grpSpPr>
        <p:grpSp>
          <p:nvGrpSpPr>
            <p:cNvPr id="23" name="Gruppieren 22"/>
            <p:cNvGrpSpPr/>
            <p:nvPr userDrawn="1"/>
          </p:nvGrpSpPr>
          <p:grpSpPr>
            <a:xfrm>
              <a:off x="4651095" y="1410980"/>
              <a:ext cx="1728658" cy="1181257"/>
              <a:chOff x="4585632" y="1269171"/>
              <a:chExt cx="1728658" cy="1181257"/>
            </a:xfrm>
          </p:grpSpPr>
          <p:sp>
            <p:nvSpPr>
              <p:cNvPr id="74" name="Rechteck 73"/>
              <p:cNvSpPr/>
              <p:nvPr userDrawn="1"/>
            </p:nvSpPr>
            <p:spPr>
              <a:xfrm>
                <a:off x="4585632" y="1269171"/>
                <a:ext cx="1728658" cy="1181257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Schriftart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aseline="0" dirty="0">
                    <a:solidFill>
                      <a:schemeClr val="tx1"/>
                    </a:solidFill>
                  </a:rPr>
                  <a:t> (Textkörper)</a:t>
                </a: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Grafik 11"/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4657177" y="1804589"/>
                <a:ext cx="1583286" cy="575201"/>
              </a:xfrm>
              <a:prstGeom prst="rect">
                <a:avLst/>
              </a:prstGeom>
            </p:spPr>
          </p:pic>
          <p:sp>
            <p:nvSpPr>
              <p:cNvPr id="105" name="Rechteck 104"/>
              <p:cNvSpPr/>
              <p:nvPr userDrawn="1"/>
            </p:nvSpPr>
            <p:spPr>
              <a:xfrm>
                <a:off x="4657961" y="2219153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hteck 112"/>
              <p:cNvSpPr/>
              <p:nvPr userDrawn="1"/>
            </p:nvSpPr>
            <p:spPr>
              <a:xfrm>
                <a:off x="5221257" y="180259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 userDrawn="1"/>
          </p:nvGrpSpPr>
          <p:grpSpPr>
            <a:xfrm>
              <a:off x="4651095" y="2646351"/>
              <a:ext cx="1728658" cy="1572629"/>
              <a:chOff x="4651095" y="2646351"/>
              <a:chExt cx="1728658" cy="1572629"/>
            </a:xfrm>
          </p:grpSpPr>
          <p:sp>
            <p:nvSpPr>
              <p:cNvPr id="116" name="Rechteck 115"/>
              <p:cNvSpPr/>
              <p:nvPr userDrawn="1"/>
            </p:nvSpPr>
            <p:spPr>
              <a:xfrm>
                <a:off x="4651095" y="2646351"/>
                <a:ext cx="1728658" cy="1572629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Action Title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="0" baseline="0" dirty="0">
                    <a:solidFill>
                      <a:schemeClr val="tx1"/>
                    </a:solidFill>
                  </a:rPr>
                  <a:t> (Überschriften)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Grafik 24"/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4722640" y="3181769"/>
                <a:ext cx="1583286" cy="569272"/>
              </a:xfrm>
              <a:prstGeom prst="rect">
                <a:avLst/>
              </a:prstGeom>
            </p:spPr>
          </p:pic>
          <p:sp>
            <p:nvSpPr>
              <p:cNvPr id="107" name="Rechteck 106"/>
              <p:cNvSpPr/>
              <p:nvPr userDrawn="1"/>
            </p:nvSpPr>
            <p:spPr>
              <a:xfrm>
                <a:off x="5809978" y="2800361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chteck 108"/>
              <p:cNvSpPr/>
              <p:nvPr userDrawn="1"/>
            </p:nvSpPr>
            <p:spPr>
              <a:xfrm>
                <a:off x="5809978" y="3288917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hteck 117"/>
              <p:cNvSpPr/>
              <p:nvPr userDrawn="1"/>
            </p:nvSpPr>
            <p:spPr>
              <a:xfrm>
                <a:off x="4723424" y="3459859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hteck 118"/>
              <p:cNvSpPr/>
              <p:nvPr userDrawn="1"/>
            </p:nvSpPr>
            <p:spPr>
              <a:xfrm>
                <a:off x="5286720" y="317977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hteck 119"/>
              <p:cNvSpPr/>
              <p:nvPr userDrawn="1"/>
            </p:nvSpPr>
            <p:spPr>
              <a:xfrm>
                <a:off x="4651095" y="3786709"/>
                <a:ext cx="1728658" cy="432271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r>
                  <a:rPr lang="de-DE" sz="600" dirty="0">
                    <a:solidFill>
                      <a:schemeClr val="tx1"/>
                    </a:solidFill>
                  </a:rPr>
                  <a:t>Der</a:t>
                </a:r>
                <a:r>
                  <a:rPr lang="de-DE" sz="600" baseline="0" dirty="0">
                    <a:solidFill>
                      <a:schemeClr val="tx1"/>
                    </a:solidFill>
                  </a:rPr>
                  <a:t> Action Title ist ein vollständiger, zweizeiliger Satz und beschreibt die Kernaussage der Folie.</a:t>
                </a: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7" name="Rechteck 26"/>
          <p:cNvSpPr/>
          <p:nvPr userDrawn="1"/>
        </p:nvSpPr>
        <p:spPr>
          <a:xfrm>
            <a:off x="839788" y="1268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 userDrawn="1"/>
        </p:nvSpPr>
        <p:spPr>
          <a:xfrm>
            <a:off x="839788" y="6236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 userDrawn="1"/>
        </p:nvSpPr>
        <p:spPr>
          <a:xfrm>
            <a:off x="83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 userDrawn="1"/>
        </p:nvSpPr>
        <p:spPr>
          <a:xfrm>
            <a:off x="1127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 userDrawn="1"/>
        </p:nvSpPr>
        <p:spPr>
          <a:xfrm>
            <a:off x="8904737" y="6076693"/>
            <a:ext cx="2447051" cy="23172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inhaltung der Führungslinien!</a:t>
            </a:r>
          </a:p>
        </p:txBody>
      </p:sp>
      <p:sp>
        <p:nvSpPr>
          <p:cNvPr id="28" name="Gleichschenkliges Dreieck 27"/>
          <p:cNvSpPr/>
          <p:nvPr userDrawn="1"/>
        </p:nvSpPr>
        <p:spPr>
          <a:xfrm>
            <a:off x="8746337" y="6076693"/>
            <a:ext cx="158400" cy="159720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Gleichschenkliges Dreieck 124"/>
          <p:cNvSpPr/>
          <p:nvPr userDrawn="1"/>
        </p:nvSpPr>
        <p:spPr>
          <a:xfrm>
            <a:off x="11121389" y="5918660"/>
            <a:ext cx="158400" cy="158033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 userDrawn="1"/>
        </p:nvSpPr>
        <p:spPr>
          <a:xfrm>
            <a:off x="983657" y="4374253"/>
            <a:ext cx="8309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Änderung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Fußzeile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4511824" y="4362980"/>
            <a:ext cx="887298" cy="1720855"/>
            <a:chOff x="5487584" y="4372990"/>
            <a:chExt cx="887298" cy="1720855"/>
          </a:xfrm>
        </p:grpSpPr>
        <p:sp>
          <p:nvSpPr>
            <p:cNvPr id="127" name="Rechteck 126"/>
            <p:cNvSpPr/>
            <p:nvPr userDrawn="1"/>
          </p:nvSpPr>
          <p:spPr>
            <a:xfrm>
              <a:off x="5487584" y="4372990"/>
              <a:ext cx="887298" cy="1720855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ußzeile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verschoben</a:t>
              </a:r>
              <a:r>
                <a:rPr lang="de-DE" sz="1000" baseline="0" dirty="0">
                  <a:solidFill>
                    <a:schemeClr val="tx1"/>
                  </a:solidFill>
                </a:rPr>
                <a:t> 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gelöscht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???</a:t>
              </a:r>
            </a:p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olie zurück setzen</a:t>
              </a:r>
            </a:p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Inhalt bleibt unbeeinflusst!</a:t>
              </a:r>
            </a:p>
          </p:txBody>
        </p:sp>
        <p:cxnSp>
          <p:nvCxnSpPr>
            <p:cNvPr id="129" name="Gewinkelter Verbinder 128"/>
            <p:cNvCxnSpPr/>
            <p:nvPr userDrawn="1"/>
          </p:nvCxnSpPr>
          <p:spPr>
            <a:xfrm>
              <a:off x="5931233" y="512228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winkelter Verbinder 128"/>
            <p:cNvCxnSpPr/>
            <p:nvPr userDrawn="1"/>
          </p:nvCxnSpPr>
          <p:spPr>
            <a:xfrm>
              <a:off x="5931233" y="552677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814655" y="4362981"/>
            <a:ext cx="2697228" cy="1730865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399063" y="4362980"/>
            <a:ext cx="906863" cy="1730865"/>
          </a:xfrm>
          <a:prstGeom prst="rect">
            <a:avLst/>
          </a:prstGeom>
        </p:spPr>
      </p:pic>
      <p:sp>
        <p:nvSpPr>
          <p:cNvPr id="157" name="Rechteck 156"/>
          <p:cNvSpPr/>
          <p:nvPr userDrawn="1"/>
        </p:nvSpPr>
        <p:spPr>
          <a:xfrm>
            <a:off x="8264368" y="1410980"/>
            <a:ext cx="1530000" cy="28071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161" name="Stern mit 5 Zacken 160"/>
          <p:cNvSpPr/>
          <p:nvPr userDrawn="1"/>
        </p:nvSpPr>
        <p:spPr>
          <a:xfrm>
            <a:off x="9788075" y="4978351"/>
            <a:ext cx="576000" cy="576064"/>
          </a:xfrm>
          <a:prstGeom prst="star5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0" name="Ellipse 69"/>
          <p:cNvSpPr/>
          <p:nvPr userDrawn="1"/>
        </p:nvSpPr>
        <p:spPr>
          <a:xfrm>
            <a:off x="10651602" y="5118975"/>
            <a:ext cx="432000" cy="432000"/>
          </a:xfrm>
          <a:prstGeom prst="ellipse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 userDrawn="1"/>
        </p:nvSpPr>
        <p:spPr>
          <a:xfrm>
            <a:off x="10197829" y="4861893"/>
            <a:ext cx="496495" cy="5105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 userDrawn="1"/>
        </p:nvSpPr>
        <p:spPr>
          <a:xfrm>
            <a:off x="9772376" y="5667842"/>
            <a:ext cx="1345636" cy="273572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aseline="0" dirty="0">
                <a:solidFill>
                  <a:schemeClr val="tx1"/>
                </a:solidFill>
              </a:rPr>
              <a:t>Füllfarbe definiert eine Form hinreichend!</a:t>
            </a:r>
          </a:p>
        </p:txBody>
      </p:sp>
      <p:grpSp>
        <p:nvGrpSpPr>
          <p:cNvPr id="185" name="Gruppieren 184"/>
          <p:cNvGrpSpPr/>
          <p:nvPr userDrawn="1"/>
        </p:nvGrpSpPr>
        <p:grpSpPr>
          <a:xfrm>
            <a:off x="6460110" y="1407527"/>
            <a:ext cx="1530001" cy="2810625"/>
            <a:chOff x="6460110" y="1407527"/>
            <a:chExt cx="1530001" cy="2810625"/>
          </a:xfrm>
        </p:grpSpPr>
        <p:sp>
          <p:nvSpPr>
            <p:cNvPr id="156" name="Rechteck 155"/>
            <p:cNvSpPr/>
            <p:nvPr userDrawn="1"/>
          </p:nvSpPr>
          <p:spPr>
            <a:xfrm>
              <a:off x="6460111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/>
            <p:nvPr userDrawn="1"/>
          </p:nvSpPr>
          <p:spPr>
            <a:xfrm>
              <a:off x="6460110" y="1407527"/>
              <a:ext cx="1530000" cy="401518"/>
            </a:xfrm>
            <a:prstGeom prst="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PS-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6-138-34</a:t>
              </a:r>
            </a:p>
          </p:txBody>
        </p:sp>
        <p:sp>
          <p:nvSpPr>
            <p:cNvPr id="167" name="Rechteck 166"/>
            <p:cNvSpPr/>
            <p:nvPr userDrawn="1"/>
          </p:nvSpPr>
          <p:spPr>
            <a:xfrm>
              <a:off x="6460110" y="1889348"/>
              <a:ext cx="1530000" cy="401518"/>
            </a:xfrm>
            <a:prstGeom prst="rect">
              <a:avLst/>
            </a:prstGeom>
            <a:solidFill>
              <a:srgbClr val="3F5F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63-95-68</a:t>
              </a:r>
            </a:p>
          </p:txBody>
        </p:sp>
        <p:sp>
          <p:nvSpPr>
            <p:cNvPr id="170" name="Rechteck 169"/>
            <p:cNvSpPr/>
            <p:nvPr userDrawn="1"/>
          </p:nvSpPr>
          <p:spPr>
            <a:xfrm>
              <a:off x="6460110" y="2371170"/>
              <a:ext cx="1530000" cy="401518"/>
            </a:xfrm>
            <a:prstGeom prst="rect">
              <a:avLst/>
            </a:prstGeom>
            <a:solidFill>
              <a:srgbClr val="0043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Türkis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0-67-89</a:t>
              </a:r>
            </a:p>
          </p:txBody>
        </p:sp>
        <p:sp>
          <p:nvSpPr>
            <p:cNvPr id="173" name="Rechteck 172"/>
            <p:cNvSpPr/>
            <p:nvPr userDrawn="1"/>
          </p:nvSpPr>
          <p:spPr>
            <a:xfrm>
              <a:off x="6460110" y="2852991"/>
              <a:ext cx="1530000" cy="401518"/>
            </a:xfrm>
            <a:prstGeom prst="rect">
              <a:avLst/>
            </a:prstGeom>
            <a:solidFill>
              <a:srgbClr val="041E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4-30-66</a:t>
              </a:r>
            </a:p>
          </p:txBody>
        </p:sp>
        <p:sp>
          <p:nvSpPr>
            <p:cNvPr id="176" name="Rechteck 175"/>
            <p:cNvSpPr/>
            <p:nvPr userDrawn="1"/>
          </p:nvSpPr>
          <p:spPr>
            <a:xfrm>
              <a:off x="6460110" y="3334813"/>
              <a:ext cx="1530000" cy="401518"/>
            </a:xfrm>
            <a:prstGeom prst="rect">
              <a:avLst/>
            </a:prstGeom>
            <a:solidFill>
              <a:srgbClr val="95A2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1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49-162-171</a:t>
              </a:r>
            </a:p>
          </p:txBody>
        </p:sp>
        <p:sp>
          <p:nvSpPr>
            <p:cNvPr id="179" name="Rechteck 178"/>
            <p:cNvSpPr/>
            <p:nvPr userDrawn="1"/>
          </p:nvSpPr>
          <p:spPr>
            <a:xfrm>
              <a:off x="6460110" y="3816634"/>
              <a:ext cx="1530000" cy="401518"/>
            </a:xfrm>
            <a:prstGeom prst="rect">
              <a:avLst/>
            </a:prstGeom>
            <a:solidFill>
              <a:srgbClr val="FFC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tx1"/>
                  </a:solidFill>
                </a:rPr>
                <a:t>Sonderfa</a:t>
              </a:r>
              <a:r>
                <a:rPr lang="de-DE" sz="1200" dirty="0">
                  <a:solidFill>
                    <a:schemeClr val="tx1"/>
                  </a:solidFill>
                </a:rPr>
                <a:t>. Gelb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55-203-0</a:t>
              </a:r>
            </a:p>
          </p:txBody>
        </p:sp>
      </p:grpSp>
      <p:grpSp>
        <p:nvGrpSpPr>
          <p:cNvPr id="184" name="Gruppieren 183"/>
          <p:cNvGrpSpPr/>
          <p:nvPr userDrawn="1"/>
        </p:nvGrpSpPr>
        <p:grpSpPr>
          <a:xfrm>
            <a:off x="8067537" y="1407527"/>
            <a:ext cx="1530001" cy="2810625"/>
            <a:chOff x="8085059" y="1407527"/>
            <a:chExt cx="1530001" cy="2810625"/>
          </a:xfrm>
        </p:grpSpPr>
        <p:sp>
          <p:nvSpPr>
            <p:cNvPr id="165" name="Rechteck 164"/>
            <p:cNvSpPr/>
            <p:nvPr userDrawn="1"/>
          </p:nvSpPr>
          <p:spPr>
            <a:xfrm>
              <a:off x="8085060" y="1407527"/>
              <a:ext cx="1530000" cy="401518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51-193-57</a:t>
              </a:r>
            </a:p>
          </p:txBody>
        </p:sp>
        <p:sp>
          <p:nvSpPr>
            <p:cNvPr id="168" name="Rechteck 167"/>
            <p:cNvSpPr/>
            <p:nvPr userDrawn="1"/>
          </p:nvSpPr>
          <p:spPr>
            <a:xfrm>
              <a:off x="8085059" y="1889348"/>
              <a:ext cx="1530000" cy="401518"/>
            </a:xfrm>
            <a:prstGeom prst="rect">
              <a:avLst/>
            </a:prstGeom>
            <a:solidFill>
              <a:srgbClr val="658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1-141-103</a:t>
              </a:r>
            </a:p>
          </p:txBody>
        </p:sp>
        <p:sp>
          <p:nvSpPr>
            <p:cNvPr id="171" name="Rechteck 170"/>
            <p:cNvSpPr/>
            <p:nvPr userDrawn="1"/>
          </p:nvSpPr>
          <p:spPr>
            <a:xfrm>
              <a:off x="8085059" y="2371170"/>
              <a:ext cx="1530000" cy="401518"/>
            </a:xfrm>
            <a:prstGeom prst="rect">
              <a:avLst/>
            </a:prstGeom>
            <a:solidFill>
              <a:srgbClr val="3467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 Türkis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52-103-125</a:t>
              </a:r>
            </a:p>
          </p:txBody>
        </p:sp>
        <p:sp>
          <p:nvSpPr>
            <p:cNvPr id="174" name="Rechteck 173"/>
            <p:cNvSpPr/>
            <p:nvPr userDrawn="1"/>
          </p:nvSpPr>
          <p:spPr>
            <a:xfrm>
              <a:off x="8085059" y="2852991"/>
              <a:ext cx="1530000" cy="401518"/>
            </a:xfrm>
            <a:prstGeom prst="rect">
              <a:avLst/>
            </a:prstGeom>
            <a:solidFill>
              <a:srgbClr val="002F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b="0" dirty="0">
                  <a:solidFill>
                    <a:schemeClr val="bg1"/>
                  </a:solidFill>
                </a:rPr>
                <a:t>0-47-108</a:t>
              </a:r>
            </a:p>
          </p:txBody>
        </p:sp>
        <p:sp>
          <p:nvSpPr>
            <p:cNvPr id="177" name="Rechteck 176"/>
            <p:cNvSpPr/>
            <p:nvPr userDrawn="1"/>
          </p:nvSpPr>
          <p:spPr>
            <a:xfrm>
              <a:off x="8085059" y="3334813"/>
              <a:ext cx="1530000" cy="401518"/>
            </a:xfrm>
            <a:prstGeom prst="rect">
              <a:avLst/>
            </a:prstGeom>
            <a:solidFill>
              <a:srgbClr val="B0BC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2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76-188-196</a:t>
              </a:r>
            </a:p>
          </p:txBody>
        </p:sp>
        <p:sp>
          <p:nvSpPr>
            <p:cNvPr id="180" name="Rechteck 179"/>
            <p:cNvSpPr/>
            <p:nvPr userDrawn="1"/>
          </p:nvSpPr>
          <p:spPr>
            <a:xfrm>
              <a:off x="8085060" y="3816634"/>
              <a:ext cx="1530000" cy="401518"/>
            </a:xfrm>
            <a:prstGeom prst="rect">
              <a:avLst/>
            </a:prstGeom>
            <a:solidFill>
              <a:srgbClr val="F582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Orange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45-130-31</a:t>
              </a:r>
            </a:p>
          </p:txBody>
        </p:sp>
      </p:grpSp>
      <p:grpSp>
        <p:nvGrpSpPr>
          <p:cNvPr id="183" name="Gruppieren 182"/>
          <p:cNvGrpSpPr/>
          <p:nvPr userDrawn="1"/>
        </p:nvGrpSpPr>
        <p:grpSpPr>
          <a:xfrm>
            <a:off x="9674964" y="1407527"/>
            <a:ext cx="1530000" cy="2810625"/>
            <a:chOff x="9674964" y="1407527"/>
            <a:chExt cx="1530000" cy="2810625"/>
          </a:xfrm>
        </p:grpSpPr>
        <p:sp>
          <p:nvSpPr>
            <p:cNvPr id="159" name="Rechteck 158"/>
            <p:cNvSpPr/>
            <p:nvPr userDrawn="1"/>
          </p:nvSpPr>
          <p:spPr>
            <a:xfrm>
              <a:off x="9674964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/>
            <p:nvPr userDrawn="1"/>
          </p:nvSpPr>
          <p:spPr>
            <a:xfrm>
              <a:off x="9674964" y="1407527"/>
              <a:ext cx="1530000" cy="401518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97-222-137</a:t>
              </a:r>
            </a:p>
          </p:txBody>
        </p:sp>
        <p:sp>
          <p:nvSpPr>
            <p:cNvPr id="169" name="Rechteck 168"/>
            <p:cNvSpPr/>
            <p:nvPr userDrawn="1"/>
          </p:nvSpPr>
          <p:spPr>
            <a:xfrm>
              <a:off x="9674964" y="1889348"/>
              <a:ext cx="1530000" cy="401518"/>
            </a:xfrm>
            <a:prstGeom prst="rect">
              <a:avLst/>
            </a:prstGeom>
            <a:solidFill>
              <a:srgbClr val="69C1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97-192-134</a:t>
              </a:r>
            </a:p>
          </p:txBody>
        </p:sp>
        <p:sp>
          <p:nvSpPr>
            <p:cNvPr id="172" name="Rechteck 171"/>
            <p:cNvSpPr/>
            <p:nvPr userDrawn="1"/>
          </p:nvSpPr>
          <p:spPr>
            <a:xfrm>
              <a:off x="9674964" y="2371170"/>
              <a:ext cx="1530000" cy="401518"/>
            </a:xfrm>
            <a:prstGeom prst="rect">
              <a:avLst/>
            </a:prstGeom>
            <a:solidFill>
              <a:srgbClr val="779F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TF Metallic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19-159-181</a:t>
              </a:r>
            </a:p>
          </p:txBody>
        </p:sp>
        <p:sp>
          <p:nvSpPr>
            <p:cNvPr id="175" name="Rechteck 174"/>
            <p:cNvSpPr/>
            <p:nvPr userDrawn="1"/>
          </p:nvSpPr>
          <p:spPr>
            <a:xfrm>
              <a:off x="9674964" y="2852991"/>
              <a:ext cx="1530000" cy="401518"/>
            </a:xfrm>
            <a:prstGeom prst="rect">
              <a:avLst/>
            </a:prstGeom>
            <a:solidFill>
              <a:srgbClr val="6C8C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U-Blau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08-140-199</a:t>
              </a:r>
            </a:p>
          </p:txBody>
        </p:sp>
        <p:sp>
          <p:nvSpPr>
            <p:cNvPr id="178" name="Rechteck 177"/>
            <p:cNvSpPr/>
            <p:nvPr userDrawn="1"/>
          </p:nvSpPr>
          <p:spPr>
            <a:xfrm>
              <a:off x="9674964" y="3334813"/>
              <a:ext cx="1530000" cy="401518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3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09-217-222</a:t>
              </a:r>
            </a:p>
          </p:txBody>
        </p:sp>
        <p:sp>
          <p:nvSpPr>
            <p:cNvPr id="181" name="Rechteck 180"/>
            <p:cNvSpPr/>
            <p:nvPr userDrawn="1"/>
          </p:nvSpPr>
          <p:spPr>
            <a:xfrm>
              <a:off x="9674964" y="3816634"/>
              <a:ext cx="1530000" cy="401518"/>
            </a:xfrm>
            <a:prstGeom prst="rect">
              <a:avLst/>
            </a:prstGeom>
            <a:solidFill>
              <a:srgbClr val="DC1E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</a:t>
              </a:r>
              <a:r>
                <a:rPr lang="de-DE" sz="1200" dirty="0" err="1">
                  <a:solidFill>
                    <a:schemeClr val="bg1"/>
                  </a:solidFill>
                </a:rPr>
                <a:t>Echtrot</a:t>
              </a:r>
              <a:endParaRPr lang="de-DE" sz="1200" dirty="0">
                <a:solidFill>
                  <a:schemeClr val="bg1"/>
                </a:solidFill>
              </a:endParaRP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20-30-38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7500004" y="4646558"/>
            <a:ext cx="2000544" cy="1294855"/>
            <a:chOff x="7500004" y="4646559"/>
            <a:chExt cx="1875600" cy="1206000"/>
          </a:xfrm>
        </p:grpSpPr>
        <p:pic>
          <p:nvPicPr>
            <p:cNvPr id="5" name="Grafik 4"/>
            <p:cNvPicPr>
              <a:picLocks noChangeAspect="1"/>
            </p:cNvPicPr>
            <p:nvPr userDrawn="1"/>
          </p:nvPicPr>
          <p:blipFill rotWithShape="1">
            <a:blip r:embed="rId15"/>
            <a:srcRect t="2" r="3019" b="33055"/>
            <a:stretch/>
          </p:blipFill>
          <p:spPr>
            <a:xfrm>
              <a:off x="7500004" y="4646559"/>
              <a:ext cx="1278000" cy="1206000"/>
            </a:xfrm>
            <a:prstGeom prst="rect">
              <a:avLst/>
            </a:prstGeom>
          </p:spPr>
        </p:pic>
        <p:sp>
          <p:nvSpPr>
            <p:cNvPr id="6" name="Rechteck 5"/>
            <p:cNvSpPr/>
            <p:nvPr userDrawn="1"/>
          </p:nvSpPr>
          <p:spPr>
            <a:xfrm>
              <a:off x="8778004" y="4655974"/>
              <a:ext cx="595908" cy="1196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28" name="Grafik 127"/>
            <p:cNvPicPr>
              <a:picLocks noChangeAspect="1"/>
            </p:cNvPicPr>
            <p:nvPr userDrawn="1"/>
          </p:nvPicPr>
          <p:blipFill rotWithShape="1">
            <a:blip r:embed="rId15"/>
            <a:srcRect l="1374" t="66984" r="53279" b="7041"/>
            <a:stretch/>
          </p:blipFill>
          <p:spPr>
            <a:xfrm>
              <a:off x="8778004" y="4787275"/>
              <a:ext cx="597600" cy="468000"/>
            </a:xfrm>
            <a:prstGeom prst="rect">
              <a:avLst/>
            </a:prstGeom>
          </p:spPr>
        </p:pic>
        <p:pic>
          <p:nvPicPr>
            <p:cNvPr id="133" name="Grafik 132"/>
            <p:cNvPicPr>
              <a:picLocks noChangeAspect="1"/>
            </p:cNvPicPr>
            <p:nvPr userDrawn="1"/>
          </p:nvPicPr>
          <p:blipFill rotWithShape="1">
            <a:blip r:embed="rId15"/>
            <a:srcRect l="45902" t="66984" r="7659" b="7041"/>
            <a:stretch/>
          </p:blipFill>
          <p:spPr>
            <a:xfrm>
              <a:off x="8761912" y="5320597"/>
              <a:ext cx="612000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2535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>
          <p15:clr>
            <a:srgbClr val="5ACBF0"/>
          </p15:clr>
        </p15:guide>
        <p15:guide id="13" pos="2048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>
          <p15:clr>
            <a:srgbClr val="5ACBF0"/>
          </p15:clr>
        </p15:guide>
        <p15:guide id="17" pos="5632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nd Production Systems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of Presentation: Reason, Client, Co-operation partner, Le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24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5" pos="3114">
          <p15:clr>
            <a:srgbClr val="A4A3A4"/>
          </p15:clr>
        </p15:guide>
        <p15:guide id="26" orient="horz" pos="2704">
          <p15:clr>
            <a:srgbClr val="A4A3A4"/>
          </p15:clr>
        </p15:guide>
        <p15:guide id="27" orient="horz" pos="3407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ör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Production Systems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7" name="Thank you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6791155" y="4811018"/>
            <a:ext cx="456105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0" b="1" cap="all" baseline="0" noProof="0"/>
              <a:t>Thank you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493C7065-2837-4AD8-B328-6E3D798AFEA0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1114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7" name="Danke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8614283" y="4811018"/>
            <a:ext cx="273792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6000" b="1" cap="all" baseline="0" dirty="0"/>
              <a:t>Danke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  <p:sp>
        <p:nvSpPr>
          <p:cNvPr id="26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2BC17C1C-93CB-43F9-9451-74049E288042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552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F65456E1-BA15-4344-A9D4-23E27B6DA57E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839788" y="333375"/>
            <a:ext cx="10303200" cy="5032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82D3B95-F798-4B7A-8F1A-2AB7A616F8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90" y="1268761"/>
            <a:ext cx="10512421" cy="51129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91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7" orient="horz" pos="527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 userDrawn="1">
          <p15:clr>
            <a:srgbClr val="5ACBF0"/>
          </p15:clr>
        </p15:guide>
        <p15:guide id="13" pos="2048" userDrawn="1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weis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Textfeld 198"/>
          <p:cNvSpPr txBox="1"/>
          <p:nvPr userDrawn="1"/>
        </p:nvSpPr>
        <p:spPr>
          <a:xfrm>
            <a:off x="839788" y="333375"/>
            <a:ext cx="10303625" cy="5032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800" b="1" dirty="0">
                <a:latin typeface="+mj-lt"/>
              </a:rPr>
              <a:t>Die Einhaltung der PowerPoint-Anweisungen ermöglicht die Erstellung qualitativ </a:t>
            </a:r>
            <a:br>
              <a:rPr lang="de-DE" sz="1800" b="1" dirty="0">
                <a:latin typeface="+mj-lt"/>
              </a:rPr>
            </a:br>
            <a:r>
              <a:rPr lang="de-DE" sz="1800" b="1" dirty="0">
                <a:latin typeface="+mj-lt"/>
              </a:rPr>
              <a:t>hochwertiger Folien, um Forschungsergebnisse angemessen repräsentieren zu können.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11143413" y="0"/>
            <a:ext cx="1048586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18000" rIns="1800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432048" y="3795891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36123" y="3493909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432048" y="617676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432048" y="200697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9,6</a:t>
            </a: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32048" y="7046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8,2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432048" y="11364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578385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611921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5928320" y="-670643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636084" y="-358463"/>
            <a:ext cx="45534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098502" y="-358463"/>
            <a:ext cx="50741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2866093" y="-414229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9</a:t>
            </a:r>
          </a:p>
        </p:txBody>
      </p:sp>
      <p:sp>
        <p:nvSpPr>
          <p:cNvPr id="53" name="Textfeld 52"/>
          <p:cNvSpPr txBox="1"/>
          <p:nvPr userDrawn="1"/>
        </p:nvSpPr>
        <p:spPr>
          <a:xfrm>
            <a:off x="8262018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1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354012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1</a:t>
            </a:r>
          </a:p>
        </p:txBody>
      </p:sp>
      <p:sp>
        <p:nvSpPr>
          <p:cNvPr id="55" name="Textfeld 54"/>
          <p:cNvSpPr txBox="1"/>
          <p:nvPr userDrawn="1"/>
        </p:nvSpPr>
        <p:spPr>
          <a:xfrm>
            <a:off x="4440238" y="-416250"/>
            <a:ext cx="389433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4,6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8040688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5,4</a:t>
            </a:r>
          </a:p>
        </p:txBody>
      </p:sp>
      <p:sp>
        <p:nvSpPr>
          <p:cNvPr id="57" name="Textfeld 56"/>
          <p:cNvSpPr txBox="1"/>
          <p:nvPr userDrawn="1"/>
        </p:nvSpPr>
        <p:spPr>
          <a:xfrm>
            <a:off x="376145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5,4</a:t>
            </a:r>
          </a:p>
        </p:txBody>
      </p:sp>
      <p:sp>
        <p:nvSpPr>
          <p:cNvPr id="58" name="Textfeld 57"/>
          <p:cNvSpPr txBox="1"/>
          <p:nvPr userDrawn="1"/>
        </p:nvSpPr>
        <p:spPr>
          <a:xfrm>
            <a:off x="8940800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9</a:t>
            </a:r>
          </a:p>
        </p:txBody>
      </p:sp>
      <p:sp>
        <p:nvSpPr>
          <p:cNvPr id="59" name="Textfeld 58"/>
          <p:cNvSpPr txBox="1"/>
          <p:nvPr userDrawn="1"/>
        </p:nvSpPr>
        <p:spPr>
          <a:xfrm>
            <a:off x="7371836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4,6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-779643" y="364490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94" name="Rechteck 93"/>
          <p:cNvSpPr/>
          <p:nvPr userDrawn="1"/>
        </p:nvSpPr>
        <p:spPr>
          <a:xfrm>
            <a:off x="839788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 userDrawn="1"/>
        </p:nvSpPr>
        <p:spPr>
          <a:xfrm>
            <a:off x="3540125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 userDrawn="1"/>
        </p:nvSpPr>
        <p:spPr>
          <a:xfrm>
            <a:off x="6240463" y="7036841"/>
            <a:ext cx="2411411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 userDrawn="1"/>
        </p:nvSpPr>
        <p:spPr>
          <a:xfrm>
            <a:off x="8940800" y="7036841"/>
            <a:ext cx="2412999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 userDrawn="1"/>
        </p:nvSpPr>
        <p:spPr>
          <a:xfrm>
            <a:off x="839788" y="7232595"/>
            <a:ext cx="3311525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4440237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 userDrawn="1"/>
        </p:nvSpPr>
        <p:spPr>
          <a:xfrm>
            <a:off x="8040688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11143413" y="0"/>
            <a:ext cx="208800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207" y="1"/>
            <a:ext cx="841253" cy="841253"/>
            <a:chOff x="5757863" y="1597025"/>
            <a:chExt cx="1971675" cy="1971675"/>
          </a:xfrm>
        </p:grpSpPr>
        <p:sp>
          <p:nvSpPr>
            <p:cNvPr id="88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/>
          <p:cNvSpPr/>
          <p:nvPr userDrawn="1"/>
        </p:nvSpPr>
        <p:spPr>
          <a:xfrm>
            <a:off x="11143412" y="836613"/>
            <a:ext cx="1048586" cy="208800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Zone</a:t>
            </a:r>
          </a:p>
        </p:txBody>
      </p:sp>
      <p:sp>
        <p:nvSpPr>
          <p:cNvPr id="194" name="Freihandform 193"/>
          <p:cNvSpPr/>
          <p:nvPr userDrawn="1"/>
        </p:nvSpPr>
        <p:spPr>
          <a:xfrm>
            <a:off x="6454578" y="4290979"/>
            <a:ext cx="3142960" cy="1874865"/>
          </a:xfrm>
          <a:custGeom>
            <a:avLst/>
            <a:gdLst>
              <a:gd name="connsiteX0" fmla="*/ 0 w 3142960"/>
              <a:gd name="connsiteY0" fmla="*/ 0 h 1874865"/>
              <a:gd name="connsiteX1" fmla="*/ 3142960 w 3142960"/>
              <a:gd name="connsiteY1" fmla="*/ 0 h 1874865"/>
              <a:gd name="connsiteX2" fmla="*/ 3142960 w 3142960"/>
              <a:gd name="connsiteY2" fmla="*/ 1718404 h 1874865"/>
              <a:gd name="connsiteX3" fmla="*/ 2450159 w 3142960"/>
              <a:gd name="connsiteY3" fmla="*/ 1718404 h 1874865"/>
              <a:gd name="connsiteX4" fmla="*/ 2294991 w 3142960"/>
              <a:gd name="connsiteY4" fmla="*/ 1874865 h 1874865"/>
              <a:gd name="connsiteX5" fmla="*/ 0 w 3142960"/>
              <a:gd name="connsiteY5" fmla="*/ 1874865 h 1874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2960" h="1874865">
                <a:moveTo>
                  <a:pt x="0" y="0"/>
                </a:moveTo>
                <a:lnTo>
                  <a:pt x="3142960" y="0"/>
                </a:lnTo>
                <a:lnTo>
                  <a:pt x="3142960" y="1718404"/>
                </a:lnTo>
                <a:lnTo>
                  <a:pt x="2450159" y="1718404"/>
                </a:lnTo>
                <a:lnTo>
                  <a:pt x="2294991" y="1874865"/>
                </a:lnTo>
                <a:lnTo>
                  <a:pt x="0" y="1874865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400" dirty="0">
                <a:solidFill>
                  <a:schemeClr val="tx1"/>
                </a:solidFill>
              </a:rPr>
              <a:t>Änderung </a:t>
            </a:r>
            <a:r>
              <a:rPr lang="de-DE" sz="1400" baseline="0" dirty="0">
                <a:solidFill>
                  <a:schemeClr val="tx1"/>
                </a:solidFill>
              </a:rPr>
              <a:t>Folienlayou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8" name="Freihandform 197"/>
          <p:cNvSpPr/>
          <p:nvPr userDrawn="1"/>
        </p:nvSpPr>
        <p:spPr>
          <a:xfrm>
            <a:off x="9674964" y="4290978"/>
            <a:ext cx="1529999" cy="1718405"/>
          </a:xfrm>
          <a:custGeom>
            <a:avLst/>
            <a:gdLst>
              <a:gd name="connsiteX0" fmla="*/ 73034 w 1529999"/>
              <a:gd name="connsiteY0" fmla="*/ 1 h 1718405"/>
              <a:gd name="connsiteX1" fmla="*/ 1529999 w 1529999"/>
              <a:gd name="connsiteY1" fmla="*/ 1 h 1718405"/>
              <a:gd name="connsiteX2" fmla="*/ 1529999 w 1529999"/>
              <a:gd name="connsiteY2" fmla="*/ 1614533 h 1718405"/>
              <a:gd name="connsiteX3" fmla="*/ 1425886 w 1529999"/>
              <a:gd name="connsiteY3" fmla="*/ 1718405 h 1718405"/>
              <a:gd name="connsiteX4" fmla="*/ 73033 w 1529999"/>
              <a:gd name="connsiteY4" fmla="*/ 1718405 h 1718405"/>
              <a:gd name="connsiteX5" fmla="*/ 73033 w 1529999"/>
              <a:gd name="connsiteY5" fmla="*/ 1718404 h 1718405"/>
              <a:gd name="connsiteX6" fmla="*/ 73034 w 1529999"/>
              <a:gd name="connsiteY6" fmla="*/ 1718404 h 1718405"/>
              <a:gd name="connsiteX7" fmla="*/ 0 w 1529999"/>
              <a:gd name="connsiteY7" fmla="*/ 0 h 1718405"/>
              <a:gd name="connsiteX8" fmla="*/ 73034 w 1529999"/>
              <a:gd name="connsiteY8" fmla="*/ 0 h 1718405"/>
              <a:gd name="connsiteX9" fmla="*/ 73034 w 1529999"/>
              <a:gd name="connsiteY9" fmla="*/ 1 h 1718405"/>
              <a:gd name="connsiteX10" fmla="*/ 73033 w 1529999"/>
              <a:gd name="connsiteY10" fmla="*/ 1 h 1718405"/>
              <a:gd name="connsiteX11" fmla="*/ 73033 w 1529999"/>
              <a:gd name="connsiteY11" fmla="*/ 1718404 h 1718405"/>
              <a:gd name="connsiteX12" fmla="*/ 0 w 1529999"/>
              <a:gd name="connsiteY12" fmla="*/ 1718404 h 1718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29999" h="1718405">
                <a:moveTo>
                  <a:pt x="73034" y="1"/>
                </a:moveTo>
                <a:lnTo>
                  <a:pt x="1529999" y="1"/>
                </a:lnTo>
                <a:lnTo>
                  <a:pt x="1529999" y="1614533"/>
                </a:lnTo>
                <a:lnTo>
                  <a:pt x="1425886" y="1718405"/>
                </a:lnTo>
                <a:lnTo>
                  <a:pt x="73033" y="1718405"/>
                </a:lnTo>
                <a:lnTo>
                  <a:pt x="73033" y="1718404"/>
                </a:lnTo>
                <a:lnTo>
                  <a:pt x="73034" y="1718404"/>
                </a:lnTo>
                <a:close/>
                <a:moveTo>
                  <a:pt x="0" y="0"/>
                </a:moveTo>
                <a:lnTo>
                  <a:pt x="73034" y="0"/>
                </a:lnTo>
                <a:lnTo>
                  <a:pt x="73034" y="1"/>
                </a:lnTo>
                <a:lnTo>
                  <a:pt x="73033" y="1"/>
                </a:lnTo>
                <a:lnTo>
                  <a:pt x="73033" y="1718404"/>
                </a:lnTo>
                <a:lnTo>
                  <a:pt x="0" y="1718404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eine Nutzung</a:t>
            </a:r>
            <a:r>
              <a:rPr lang="de-DE" sz="1400" baseline="0" dirty="0">
                <a:solidFill>
                  <a:schemeClr val="tx1"/>
                </a:solidFill>
              </a:rPr>
              <a:t> </a:t>
            </a:r>
            <a:br>
              <a:rPr lang="de-DE" sz="1400" baseline="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von Konturen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6" name="Grafik 85"/>
          <p:cNvPicPr>
            <a:picLocks noChangeAspect="1"/>
          </p:cNvPicPr>
          <p:nvPr userDrawn="1"/>
        </p:nvPicPr>
        <p:blipFill rotWithShape="1">
          <a:blip r:embed="rId2"/>
          <a:srcRect l="-413" t="-391" r="64380" b="35617"/>
          <a:stretch/>
        </p:blipFill>
        <p:spPr>
          <a:xfrm>
            <a:off x="6523392" y="4362980"/>
            <a:ext cx="902660" cy="1730865"/>
          </a:xfrm>
          <a:prstGeom prst="rect">
            <a:avLst/>
          </a:prstGeom>
        </p:spPr>
      </p:pic>
      <p:sp>
        <p:nvSpPr>
          <p:cNvPr id="89" name="Rechteck 88"/>
          <p:cNvSpPr/>
          <p:nvPr userDrawn="1"/>
        </p:nvSpPr>
        <p:spPr>
          <a:xfrm>
            <a:off x="983657" y="4290980"/>
            <a:ext cx="5396096" cy="1874865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99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90" name="Gruppieren 89"/>
          <p:cNvGrpSpPr/>
          <p:nvPr userDrawn="1"/>
        </p:nvGrpSpPr>
        <p:grpSpPr>
          <a:xfrm>
            <a:off x="1056653" y="5056232"/>
            <a:ext cx="684077" cy="1037613"/>
            <a:chOff x="6857667" y="5091438"/>
            <a:chExt cx="684077" cy="1037613"/>
          </a:xfrm>
        </p:grpSpPr>
        <p:pic>
          <p:nvPicPr>
            <p:cNvPr id="92" name="Grafik 91"/>
            <p:cNvPicPr>
              <a:picLocks noChangeAspect="1"/>
            </p:cNvPicPr>
            <p:nvPr userDrawn="1"/>
          </p:nvPicPr>
          <p:blipFill rotWithShape="1">
            <a:blip r:embed="rId3"/>
            <a:srcRect l="2497" t="18212" r="6605"/>
            <a:stretch/>
          </p:blipFill>
          <p:spPr>
            <a:xfrm>
              <a:off x="6857667" y="5091438"/>
              <a:ext cx="684076" cy="210367"/>
            </a:xfrm>
            <a:prstGeom prst="rect">
              <a:avLst/>
            </a:prstGeom>
          </p:spPr>
        </p:pic>
        <p:pic>
          <p:nvPicPr>
            <p:cNvPr id="93" name="Grafik 9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57668" y="5340624"/>
              <a:ext cx="684076" cy="788427"/>
            </a:xfrm>
            <a:prstGeom prst="rect">
              <a:avLst/>
            </a:prstGeom>
          </p:spPr>
        </p:pic>
      </p:grpSp>
      <p:grpSp>
        <p:nvGrpSpPr>
          <p:cNvPr id="45" name="Gruppieren 44"/>
          <p:cNvGrpSpPr/>
          <p:nvPr userDrawn="1"/>
        </p:nvGrpSpPr>
        <p:grpSpPr>
          <a:xfrm>
            <a:off x="983657" y="1410980"/>
            <a:ext cx="1800000" cy="2808000"/>
            <a:chOff x="839788" y="1269171"/>
            <a:chExt cx="1800000" cy="2808000"/>
          </a:xfrm>
        </p:grpSpPr>
        <p:sp>
          <p:nvSpPr>
            <p:cNvPr id="67" name="Rechteck 66"/>
            <p:cNvSpPr/>
            <p:nvPr userDrawn="1"/>
          </p:nvSpPr>
          <p:spPr>
            <a:xfrm>
              <a:off x="839788" y="1269171"/>
              <a:ext cx="1800000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der Designfarben-Stufung</a:t>
              </a:r>
            </a:p>
          </p:txBody>
        </p:sp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10998" y="1804589"/>
              <a:ext cx="1657581" cy="2200582"/>
            </a:xfrm>
            <a:prstGeom prst="rect">
              <a:avLst/>
            </a:prstGeom>
          </p:spPr>
        </p:pic>
        <p:cxnSp>
          <p:nvCxnSpPr>
            <p:cNvPr id="11" name="Gerader Verbinder 10"/>
            <p:cNvCxnSpPr/>
            <p:nvPr userDrawn="1"/>
          </p:nvCxnSpPr>
          <p:spPr>
            <a:xfrm flipH="1"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/>
            <p:cNvCxnSpPr/>
            <p:nvPr userDrawn="1"/>
          </p:nvCxnSpPr>
          <p:spPr>
            <a:xfrm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 userDrawn="1"/>
          </p:nvCxnSpPr>
          <p:spPr>
            <a:xfrm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/>
            <p:cNvCxnSpPr/>
            <p:nvPr userDrawn="1"/>
          </p:nvCxnSpPr>
          <p:spPr>
            <a:xfrm flipH="1"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/>
          <p:cNvGrpSpPr/>
          <p:nvPr userDrawn="1"/>
        </p:nvGrpSpPr>
        <p:grpSpPr>
          <a:xfrm>
            <a:off x="2853046" y="1410980"/>
            <a:ext cx="1728659" cy="2808000"/>
            <a:chOff x="2711788" y="1269171"/>
            <a:chExt cx="1728659" cy="2808000"/>
          </a:xfrm>
        </p:grpSpPr>
        <p:sp>
          <p:nvSpPr>
            <p:cNvPr id="66" name="Rechteck 65"/>
            <p:cNvSpPr/>
            <p:nvPr userDrawn="1"/>
          </p:nvSpPr>
          <p:spPr>
            <a:xfrm>
              <a:off x="2711788" y="1269171"/>
              <a:ext cx="1728658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von</a:t>
              </a:r>
              <a:r>
                <a:rPr lang="de-DE" sz="1400" baseline="0" dirty="0">
                  <a:solidFill>
                    <a:schemeClr val="tx1"/>
                  </a:solidFill>
                </a:rPr>
                <a:t> Aufzählungszeiche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87075" y="3463386"/>
              <a:ext cx="635580" cy="53854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787074" y="1804589"/>
              <a:ext cx="1581371" cy="60968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787075" y="2974830"/>
              <a:ext cx="1581371" cy="416556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787075" y="2486274"/>
              <a:ext cx="1581371" cy="416556"/>
            </a:xfrm>
            <a:prstGeom prst="rect">
              <a:avLst/>
            </a:prstGeom>
          </p:spPr>
        </p:pic>
        <p:cxnSp>
          <p:nvCxnSpPr>
            <p:cNvPr id="69" name="Gerader Verbinder 68"/>
            <p:cNvCxnSpPr/>
            <p:nvPr userDrawn="1"/>
          </p:nvCxnSpPr>
          <p:spPr>
            <a:xfrm flipH="1"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/>
            <p:cNvSpPr/>
            <p:nvPr userDrawn="1"/>
          </p:nvSpPr>
          <p:spPr>
            <a:xfrm>
              <a:off x="3539910" y="1835432"/>
              <a:ext cx="433462" cy="21589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3987392" y="2280905"/>
              <a:ext cx="381053" cy="133369"/>
            </a:xfrm>
            <a:prstGeom prst="rect">
              <a:avLst/>
            </a:prstGeom>
          </p:spPr>
        </p:pic>
        <p:sp>
          <p:nvSpPr>
            <p:cNvPr id="22" name="Rechteck 21"/>
            <p:cNvSpPr/>
            <p:nvPr userDrawn="1"/>
          </p:nvSpPr>
          <p:spPr>
            <a:xfrm>
              <a:off x="3792265" y="2658552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Gewinkelter Verbinder 23"/>
            <p:cNvCxnSpPr>
              <a:stCxn id="20" idx="2"/>
              <a:endCxn id="22" idx="3"/>
            </p:cNvCxnSpPr>
            <p:nvPr userDrawn="1"/>
          </p:nvCxnSpPr>
          <p:spPr>
            <a:xfrm rot="16200000" flipH="1">
              <a:off x="3488839" y="2319126"/>
              <a:ext cx="643228" cy="107624"/>
            </a:xfrm>
            <a:prstGeom prst="bentConnector4">
              <a:avLst>
                <a:gd name="adj1" fmla="val 63491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74"/>
            <p:cNvSpPr/>
            <p:nvPr userDrawn="1"/>
          </p:nvSpPr>
          <p:spPr>
            <a:xfrm>
              <a:off x="3792265" y="3147108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7" name="Gewinkelter Verbinder 76"/>
            <p:cNvCxnSpPr>
              <a:stCxn id="20" idx="2"/>
              <a:endCxn id="75" idx="3"/>
            </p:cNvCxnSpPr>
            <p:nvPr userDrawn="1"/>
          </p:nvCxnSpPr>
          <p:spPr>
            <a:xfrm rot="16200000" flipH="1">
              <a:off x="3244561" y="2563404"/>
              <a:ext cx="1131784" cy="107624"/>
            </a:xfrm>
            <a:prstGeom prst="bentConnector4">
              <a:avLst>
                <a:gd name="adj1" fmla="val 35506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hteck 102"/>
            <p:cNvSpPr/>
            <p:nvPr userDrawn="1"/>
          </p:nvSpPr>
          <p:spPr>
            <a:xfrm>
              <a:off x="3406141" y="3493908"/>
              <a:ext cx="1034306" cy="508023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0" dirty="0">
                  <a:solidFill>
                    <a:schemeClr val="tx1"/>
                  </a:solidFill>
                </a:rPr>
                <a:t>Listenebene</a:t>
              </a:r>
              <a:r>
                <a:rPr lang="de-DE" sz="1050" dirty="0">
                  <a:solidFill>
                    <a:schemeClr val="tx1"/>
                  </a:solidFill>
                </a:rPr>
                <a:t> anpassen!</a:t>
              </a:r>
            </a:p>
          </p:txBody>
        </p:sp>
        <p:cxnSp>
          <p:nvCxnSpPr>
            <p:cNvPr id="104" name="Gerader Verbinder 103"/>
            <p:cNvCxnSpPr/>
            <p:nvPr userDrawn="1"/>
          </p:nvCxnSpPr>
          <p:spPr>
            <a:xfrm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/>
          <p:cNvGrpSpPr/>
          <p:nvPr userDrawn="1"/>
        </p:nvGrpSpPr>
        <p:grpSpPr>
          <a:xfrm>
            <a:off x="4651095" y="1410980"/>
            <a:ext cx="1728658" cy="2808000"/>
            <a:chOff x="4651095" y="1410980"/>
            <a:chExt cx="1728658" cy="2808000"/>
          </a:xfrm>
        </p:grpSpPr>
        <p:grpSp>
          <p:nvGrpSpPr>
            <p:cNvPr id="23" name="Gruppieren 22"/>
            <p:cNvGrpSpPr/>
            <p:nvPr userDrawn="1"/>
          </p:nvGrpSpPr>
          <p:grpSpPr>
            <a:xfrm>
              <a:off x="4651095" y="1410980"/>
              <a:ext cx="1728658" cy="1181257"/>
              <a:chOff x="4585632" y="1269171"/>
              <a:chExt cx="1728658" cy="1181257"/>
            </a:xfrm>
          </p:grpSpPr>
          <p:sp>
            <p:nvSpPr>
              <p:cNvPr id="74" name="Rechteck 73"/>
              <p:cNvSpPr/>
              <p:nvPr userDrawn="1"/>
            </p:nvSpPr>
            <p:spPr>
              <a:xfrm>
                <a:off x="4585632" y="1269171"/>
                <a:ext cx="1728658" cy="1181257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Schriftart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aseline="0" dirty="0">
                    <a:solidFill>
                      <a:schemeClr val="tx1"/>
                    </a:solidFill>
                  </a:rPr>
                  <a:t> (Textkörper)</a:t>
                </a: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Grafik 11"/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4657177" y="1804589"/>
                <a:ext cx="1583286" cy="575201"/>
              </a:xfrm>
              <a:prstGeom prst="rect">
                <a:avLst/>
              </a:prstGeom>
            </p:spPr>
          </p:pic>
          <p:sp>
            <p:nvSpPr>
              <p:cNvPr id="105" name="Rechteck 104"/>
              <p:cNvSpPr/>
              <p:nvPr userDrawn="1"/>
            </p:nvSpPr>
            <p:spPr>
              <a:xfrm>
                <a:off x="4657961" y="2219153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hteck 112"/>
              <p:cNvSpPr/>
              <p:nvPr userDrawn="1"/>
            </p:nvSpPr>
            <p:spPr>
              <a:xfrm>
                <a:off x="5221257" y="180259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 userDrawn="1"/>
          </p:nvGrpSpPr>
          <p:grpSpPr>
            <a:xfrm>
              <a:off x="4651095" y="2646351"/>
              <a:ext cx="1728658" cy="1572629"/>
              <a:chOff x="4651095" y="2646351"/>
              <a:chExt cx="1728658" cy="1572629"/>
            </a:xfrm>
          </p:grpSpPr>
          <p:sp>
            <p:nvSpPr>
              <p:cNvPr id="116" name="Rechteck 115"/>
              <p:cNvSpPr/>
              <p:nvPr userDrawn="1"/>
            </p:nvSpPr>
            <p:spPr>
              <a:xfrm>
                <a:off x="4651095" y="2646351"/>
                <a:ext cx="1728658" cy="1572629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Action Title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="0" baseline="0" dirty="0">
                    <a:solidFill>
                      <a:schemeClr val="tx1"/>
                    </a:solidFill>
                  </a:rPr>
                  <a:t> (Überschriften)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Grafik 24"/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4722640" y="3181769"/>
                <a:ext cx="1583286" cy="569272"/>
              </a:xfrm>
              <a:prstGeom prst="rect">
                <a:avLst/>
              </a:prstGeom>
            </p:spPr>
          </p:pic>
          <p:sp>
            <p:nvSpPr>
              <p:cNvPr id="107" name="Rechteck 106"/>
              <p:cNvSpPr/>
              <p:nvPr userDrawn="1"/>
            </p:nvSpPr>
            <p:spPr>
              <a:xfrm>
                <a:off x="5809978" y="2800361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chteck 108"/>
              <p:cNvSpPr/>
              <p:nvPr userDrawn="1"/>
            </p:nvSpPr>
            <p:spPr>
              <a:xfrm>
                <a:off x="5809978" y="3288917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hteck 117"/>
              <p:cNvSpPr/>
              <p:nvPr userDrawn="1"/>
            </p:nvSpPr>
            <p:spPr>
              <a:xfrm>
                <a:off x="4723424" y="3459859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hteck 118"/>
              <p:cNvSpPr/>
              <p:nvPr userDrawn="1"/>
            </p:nvSpPr>
            <p:spPr>
              <a:xfrm>
                <a:off x="5286720" y="317977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hteck 119"/>
              <p:cNvSpPr/>
              <p:nvPr userDrawn="1"/>
            </p:nvSpPr>
            <p:spPr>
              <a:xfrm>
                <a:off x="4651095" y="3786709"/>
                <a:ext cx="1728658" cy="432271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r>
                  <a:rPr lang="de-DE" sz="600" dirty="0">
                    <a:solidFill>
                      <a:schemeClr val="tx1"/>
                    </a:solidFill>
                  </a:rPr>
                  <a:t>Der</a:t>
                </a:r>
                <a:r>
                  <a:rPr lang="de-DE" sz="600" baseline="0" dirty="0">
                    <a:solidFill>
                      <a:schemeClr val="tx1"/>
                    </a:solidFill>
                  </a:rPr>
                  <a:t> Action Title ist ein vollständiger, zweizeiliger Satz und beschreibt die Kernaussage der Folie.</a:t>
                </a: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7" name="Rechteck 26"/>
          <p:cNvSpPr/>
          <p:nvPr userDrawn="1"/>
        </p:nvSpPr>
        <p:spPr>
          <a:xfrm>
            <a:off x="839788" y="1268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 userDrawn="1"/>
        </p:nvSpPr>
        <p:spPr>
          <a:xfrm>
            <a:off x="839788" y="6236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 userDrawn="1"/>
        </p:nvSpPr>
        <p:spPr>
          <a:xfrm>
            <a:off x="83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 userDrawn="1"/>
        </p:nvSpPr>
        <p:spPr>
          <a:xfrm>
            <a:off x="1127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 userDrawn="1"/>
        </p:nvSpPr>
        <p:spPr>
          <a:xfrm>
            <a:off x="8904737" y="6076693"/>
            <a:ext cx="2447051" cy="23172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inhaltung der Führungslinien!</a:t>
            </a:r>
          </a:p>
        </p:txBody>
      </p:sp>
      <p:sp>
        <p:nvSpPr>
          <p:cNvPr id="28" name="Gleichschenkliges Dreieck 27"/>
          <p:cNvSpPr/>
          <p:nvPr userDrawn="1"/>
        </p:nvSpPr>
        <p:spPr>
          <a:xfrm>
            <a:off x="8746337" y="6076693"/>
            <a:ext cx="158400" cy="159720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Gleichschenkliges Dreieck 124"/>
          <p:cNvSpPr/>
          <p:nvPr userDrawn="1"/>
        </p:nvSpPr>
        <p:spPr>
          <a:xfrm>
            <a:off x="11121389" y="5918660"/>
            <a:ext cx="158400" cy="158033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 userDrawn="1"/>
        </p:nvSpPr>
        <p:spPr>
          <a:xfrm>
            <a:off x="983657" y="4374253"/>
            <a:ext cx="8309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Änderung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Fußzeile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4511824" y="4362980"/>
            <a:ext cx="887298" cy="1720855"/>
            <a:chOff x="5487584" y="4372990"/>
            <a:chExt cx="887298" cy="1720855"/>
          </a:xfrm>
        </p:grpSpPr>
        <p:sp>
          <p:nvSpPr>
            <p:cNvPr id="127" name="Rechteck 126"/>
            <p:cNvSpPr/>
            <p:nvPr userDrawn="1"/>
          </p:nvSpPr>
          <p:spPr>
            <a:xfrm>
              <a:off x="5487584" y="4372990"/>
              <a:ext cx="887298" cy="1720855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ußzeile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verschoben</a:t>
              </a:r>
              <a:r>
                <a:rPr lang="de-DE" sz="1000" baseline="0" dirty="0">
                  <a:solidFill>
                    <a:schemeClr val="tx1"/>
                  </a:solidFill>
                </a:rPr>
                <a:t> 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gelöscht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???</a:t>
              </a:r>
            </a:p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olie zurück setzen</a:t>
              </a:r>
            </a:p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Inhalt bleibt unbeeinflusst!</a:t>
              </a:r>
            </a:p>
          </p:txBody>
        </p:sp>
        <p:cxnSp>
          <p:nvCxnSpPr>
            <p:cNvPr id="129" name="Gewinkelter Verbinder 128"/>
            <p:cNvCxnSpPr/>
            <p:nvPr userDrawn="1"/>
          </p:nvCxnSpPr>
          <p:spPr>
            <a:xfrm>
              <a:off x="5931233" y="512228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winkelter Verbinder 128"/>
            <p:cNvCxnSpPr/>
            <p:nvPr userDrawn="1"/>
          </p:nvCxnSpPr>
          <p:spPr>
            <a:xfrm>
              <a:off x="5931233" y="552677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814655" y="4362981"/>
            <a:ext cx="2697228" cy="1730865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399063" y="4362980"/>
            <a:ext cx="906863" cy="1730865"/>
          </a:xfrm>
          <a:prstGeom prst="rect">
            <a:avLst/>
          </a:prstGeom>
        </p:spPr>
      </p:pic>
      <p:sp>
        <p:nvSpPr>
          <p:cNvPr id="157" name="Rechteck 156"/>
          <p:cNvSpPr/>
          <p:nvPr userDrawn="1"/>
        </p:nvSpPr>
        <p:spPr>
          <a:xfrm>
            <a:off x="8264368" y="1410980"/>
            <a:ext cx="1530000" cy="28071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161" name="Stern mit 5 Zacken 160"/>
          <p:cNvSpPr/>
          <p:nvPr userDrawn="1"/>
        </p:nvSpPr>
        <p:spPr>
          <a:xfrm>
            <a:off x="9788075" y="4978351"/>
            <a:ext cx="576000" cy="576064"/>
          </a:xfrm>
          <a:prstGeom prst="star5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0" name="Ellipse 69"/>
          <p:cNvSpPr/>
          <p:nvPr userDrawn="1"/>
        </p:nvSpPr>
        <p:spPr>
          <a:xfrm>
            <a:off x="10651602" y="5118975"/>
            <a:ext cx="432000" cy="432000"/>
          </a:xfrm>
          <a:prstGeom prst="ellipse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 userDrawn="1"/>
        </p:nvSpPr>
        <p:spPr>
          <a:xfrm>
            <a:off x="10197829" y="4861893"/>
            <a:ext cx="496495" cy="5105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 userDrawn="1"/>
        </p:nvSpPr>
        <p:spPr>
          <a:xfrm>
            <a:off x="9772376" y="5667842"/>
            <a:ext cx="1345636" cy="273572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aseline="0" dirty="0">
                <a:solidFill>
                  <a:schemeClr val="tx1"/>
                </a:solidFill>
              </a:rPr>
              <a:t>Füllfarbe definiert eine Form hinreichend!</a:t>
            </a:r>
          </a:p>
        </p:txBody>
      </p:sp>
      <p:grpSp>
        <p:nvGrpSpPr>
          <p:cNvPr id="185" name="Gruppieren 184"/>
          <p:cNvGrpSpPr/>
          <p:nvPr userDrawn="1"/>
        </p:nvGrpSpPr>
        <p:grpSpPr>
          <a:xfrm>
            <a:off x="6460110" y="1407527"/>
            <a:ext cx="1530001" cy="2810625"/>
            <a:chOff x="6460110" y="1407527"/>
            <a:chExt cx="1530001" cy="2810625"/>
          </a:xfrm>
        </p:grpSpPr>
        <p:sp>
          <p:nvSpPr>
            <p:cNvPr id="156" name="Rechteck 155"/>
            <p:cNvSpPr/>
            <p:nvPr userDrawn="1"/>
          </p:nvSpPr>
          <p:spPr>
            <a:xfrm>
              <a:off x="6460111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/>
            <p:nvPr userDrawn="1"/>
          </p:nvSpPr>
          <p:spPr>
            <a:xfrm>
              <a:off x="6460110" y="1407527"/>
              <a:ext cx="1530000" cy="401518"/>
            </a:xfrm>
            <a:prstGeom prst="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PS-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6-138-34</a:t>
              </a:r>
            </a:p>
          </p:txBody>
        </p:sp>
        <p:sp>
          <p:nvSpPr>
            <p:cNvPr id="167" name="Rechteck 166"/>
            <p:cNvSpPr/>
            <p:nvPr userDrawn="1"/>
          </p:nvSpPr>
          <p:spPr>
            <a:xfrm>
              <a:off x="6460110" y="1889348"/>
              <a:ext cx="1530000" cy="401518"/>
            </a:xfrm>
            <a:prstGeom prst="rect">
              <a:avLst/>
            </a:prstGeom>
            <a:solidFill>
              <a:srgbClr val="3F5F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63-95-68</a:t>
              </a:r>
            </a:p>
          </p:txBody>
        </p:sp>
        <p:sp>
          <p:nvSpPr>
            <p:cNvPr id="170" name="Rechteck 169"/>
            <p:cNvSpPr/>
            <p:nvPr userDrawn="1"/>
          </p:nvSpPr>
          <p:spPr>
            <a:xfrm>
              <a:off x="6460110" y="2371170"/>
              <a:ext cx="1530000" cy="401518"/>
            </a:xfrm>
            <a:prstGeom prst="rect">
              <a:avLst/>
            </a:prstGeom>
            <a:solidFill>
              <a:srgbClr val="0043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Türkis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0-67-89</a:t>
              </a:r>
            </a:p>
          </p:txBody>
        </p:sp>
        <p:sp>
          <p:nvSpPr>
            <p:cNvPr id="173" name="Rechteck 172"/>
            <p:cNvSpPr/>
            <p:nvPr userDrawn="1"/>
          </p:nvSpPr>
          <p:spPr>
            <a:xfrm>
              <a:off x="6460110" y="2852991"/>
              <a:ext cx="1530000" cy="401518"/>
            </a:xfrm>
            <a:prstGeom prst="rect">
              <a:avLst/>
            </a:prstGeom>
            <a:solidFill>
              <a:srgbClr val="041E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4-30-66</a:t>
              </a:r>
            </a:p>
          </p:txBody>
        </p:sp>
        <p:sp>
          <p:nvSpPr>
            <p:cNvPr id="176" name="Rechteck 175"/>
            <p:cNvSpPr/>
            <p:nvPr userDrawn="1"/>
          </p:nvSpPr>
          <p:spPr>
            <a:xfrm>
              <a:off x="6460110" y="3334813"/>
              <a:ext cx="1530000" cy="401518"/>
            </a:xfrm>
            <a:prstGeom prst="rect">
              <a:avLst/>
            </a:prstGeom>
            <a:solidFill>
              <a:srgbClr val="95A2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1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49-162-171</a:t>
              </a:r>
            </a:p>
          </p:txBody>
        </p:sp>
        <p:sp>
          <p:nvSpPr>
            <p:cNvPr id="179" name="Rechteck 178"/>
            <p:cNvSpPr/>
            <p:nvPr userDrawn="1"/>
          </p:nvSpPr>
          <p:spPr>
            <a:xfrm>
              <a:off x="6460110" y="3816634"/>
              <a:ext cx="1530000" cy="401518"/>
            </a:xfrm>
            <a:prstGeom prst="rect">
              <a:avLst/>
            </a:prstGeom>
            <a:solidFill>
              <a:srgbClr val="FFC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tx1"/>
                  </a:solidFill>
                </a:rPr>
                <a:t>Sonderfa</a:t>
              </a:r>
              <a:r>
                <a:rPr lang="de-DE" sz="1200" dirty="0">
                  <a:solidFill>
                    <a:schemeClr val="tx1"/>
                  </a:solidFill>
                </a:rPr>
                <a:t>. Gelb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55-203-0</a:t>
              </a:r>
            </a:p>
          </p:txBody>
        </p:sp>
      </p:grpSp>
      <p:grpSp>
        <p:nvGrpSpPr>
          <p:cNvPr id="184" name="Gruppieren 183"/>
          <p:cNvGrpSpPr/>
          <p:nvPr userDrawn="1"/>
        </p:nvGrpSpPr>
        <p:grpSpPr>
          <a:xfrm>
            <a:off x="8067537" y="1407527"/>
            <a:ext cx="1530001" cy="2810625"/>
            <a:chOff x="8085059" y="1407527"/>
            <a:chExt cx="1530001" cy="2810625"/>
          </a:xfrm>
        </p:grpSpPr>
        <p:sp>
          <p:nvSpPr>
            <p:cNvPr id="165" name="Rechteck 164"/>
            <p:cNvSpPr/>
            <p:nvPr userDrawn="1"/>
          </p:nvSpPr>
          <p:spPr>
            <a:xfrm>
              <a:off x="8085060" y="1407527"/>
              <a:ext cx="1530000" cy="401518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51-193-57</a:t>
              </a:r>
            </a:p>
          </p:txBody>
        </p:sp>
        <p:sp>
          <p:nvSpPr>
            <p:cNvPr id="168" name="Rechteck 167"/>
            <p:cNvSpPr/>
            <p:nvPr userDrawn="1"/>
          </p:nvSpPr>
          <p:spPr>
            <a:xfrm>
              <a:off x="8085059" y="1889348"/>
              <a:ext cx="1530000" cy="401518"/>
            </a:xfrm>
            <a:prstGeom prst="rect">
              <a:avLst/>
            </a:prstGeom>
            <a:solidFill>
              <a:srgbClr val="658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1-141-103</a:t>
              </a:r>
            </a:p>
          </p:txBody>
        </p:sp>
        <p:sp>
          <p:nvSpPr>
            <p:cNvPr id="171" name="Rechteck 170"/>
            <p:cNvSpPr/>
            <p:nvPr userDrawn="1"/>
          </p:nvSpPr>
          <p:spPr>
            <a:xfrm>
              <a:off x="8085059" y="2371170"/>
              <a:ext cx="1530000" cy="401518"/>
            </a:xfrm>
            <a:prstGeom prst="rect">
              <a:avLst/>
            </a:prstGeom>
            <a:solidFill>
              <a:srgbClr val="3467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 Türkis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52-103-125</a:t>
              </a:r>
            </a:p>
          </p:txBody>
        </p:sp>
        <p:sp>
          <p:nvSpPr>
            <p:cNvPr id="174" name="Rechteck 173"/>
            <p:cNvSpPr/>
            <p:nvPr userDrawn="1"/>
          </p:nvSpPr>
          <p:spPr>
            <a:xfrm>
              <a:off x="8085059" y="2852991"/>
              <a:ext cx="1530000" cy="401518"/>
            </a:xfrm>
            <a:prstGeom prst="rect">
              <a:avLst/>
            </a:prstGeom>
            <a:solidFill>
              <a:srgbClr val="002F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b="0" dirty="0">
                  <a:solidFill>
                    <a:schemeClr val="bg1"/>
                  </a:solidFill>
                </a:rPr>
                <a:t>0-47-108</a:t>
              </a:r>
            </a:p>
          </p:txBody>
        </p:sp>
        <p:sp>
          <p:nvSpPr>
            <p:cNvPr id="177" name="Rechteck 176"/>
            <p:cNvSpPr/>
            <p:nvPr userDrawn="1"/>
          </p:nvSpPr>
          <p:spPr>
            <a:xfrm>
              <a:off x="8085059" y="3334813"/>
              <a:ext cx="1530000" cy="401518"/>
            </a:xfrm>
            <a:prstGeom prst="rect">
              <a:avLst/>
            </a:prstGeom>
            <a:solidFill>
              <a:srgbClr val="B0BC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2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76-188-196</a:t>
              </a:r>
            </a:p>
          </p:txBody>
        </p:sp>
        <p:sp>
          <p:nvSpPr>
            <p:cNvPr id="180" name="Rechteck 179"/>
            <p:cNvSpPr/>
            <p:nvPr userDrawn="1"/>
          </p:nvSpPr>
          <p:spPr>
            <a:xfrm>
              <a:off x="8085060" y="3816634"/>
              <a:ext cx="1530000" cy="401518"/>
            </a:xfrm>
            <a:prstGeom prst="rect">
              <a:avLst/>
            </a:prstGeom>
            <a:solidFill>
              <a:srgbClr val="F582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Orange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45-130-31</a:t>
              </a:r>
            </a:p>
          </p:txBody>
        </p:sp>
      </p:grpSp>
      <p:grpSp>
        <p:nvGrpSpPr>
          <p:cNvPr id="183" name="Gruppieren 182"/>
          <p:cNvGrpSpPr/>
          <p:nvPr userDrawn="1"/>
        </p:nvGrpSpPr>
        <p:grpSpPr>
          <a:xfrm>
            <a:off x="9674964" y="1407527"/>
            <a:ext cx="1530000" cy="2810625"/>
            <a:chOff x="9674964" y="1407527"/>
            <a:chExt cx="1530000" cy="2810625"/>
          </a:xfrm>
        </p:grpSpPr>
        <p:sp>
          <p:nvSpPr>
            <p:cNvPr id="159" name="Rechteck 158"/>
            <p:cNvSpPr/>
            <p:nvPr userDrawn="1"/>
          </p:nvSpPr>
          <p:spPr>
            <a:xfrm>
              <a:off x="9674964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/>
            <p:nvPr userDrawn="1"/>
          </p:nvSpPr>
          <p:spPr>
            <a:xfrm>
              <a:off x="9674964" y="1407527"/>
              <a:ext cx="1530000" cy="401518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97-222-137</a:t>
              </a:r>
            </a:p>
          </p:txBody>
        </p:sp>
        <p:sp>
          <p:nvSpPr>
            <p:cNvPr id="169" name="Rechteck 168"/>
            <p:cNvSpPr/>
            <p:nvPr userDrawn="1"/>
          </p:nvSpPr>
          <p:spPr>
            <a:xfrm>
              <a:off x="9674964" y="1889348"/>
              <a:ext cx="1530000" cy="401518"/>
            </a:xfrm>
            <a:prstGeom prst="rect">
              <a:avLst/>
            </a:prstGeom>
            <a:solidFill>
              <a:srgbClr val="69C1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97-192-134</a:t>
              </a:r>
            </a:p>
          </p:txBody>
        </p:sp>
        <p:sp>
          <p:nvSpPr>
            <p:cNvPr id="172" name="Rechteck 171"/>
            <p:cNvSpPr/>
            <p:nvPr userDrawn="1"/>
          </p:nvSpPr>
          <p:spPr>
            <a:xfrm>
              <a:off x="9674964" y="2371170"/>
              <a:ext cx="1530000" cy="401518"/>
            </a:xfrm>
            <a:prstGeom prst="rect">
              <a:avLst/>
            </a:prstGeom>
            <a:solidFill>
              <a:srgbClr val="779F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TF Metallic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19-159-181</a:t>
              </a:r>
            </a:p>
          </p:txBody>
        </p:sp>
        <p:sp>
          <p:nvSpPr>
            <p:cNvPr id="175" name="Rechteck 174"/>
            <p:cNvSpPr/>
            <p:nvPr userDrawn="1"/>
          </p:nvSpPr>
          <p:spPr>
            <a:xfrm>
              <a:off x="9674964" y="2852991"/>
              <a:ext cx="1530000" cy="401518"/>
            </a:xfrm>
            <a:prstGeom prst="rect">
              <a:avLst/>
            </a:prstGeom>
            <a:solidFill>
              <a:srgbClr val="6C8C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U-Blau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08-140-199</a:t>
              </a:r>
            </a:p>
          </p:txBody>
        </p:sp>
        <p:sp>
          <p:nvSpPr>
            <p:cNvPr id="178" name="Rechteck 177"/>
            <p:cNvSpPr/>
            <p:nvPr userDrawn="1"/>
          </p:nvSpPr>
          <p:spPr>
            <a:xfrm>
              <a:off x="9674964" y="3334813"/>
              <a:ext cx="1530000" cy="401518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3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09-217-222</a:t>
              </a:r>
            </a:p>
          </p:txBody>
        </p:sp>
        <p:sp>
          <p:nvSpPr>
            <p:cNvPr id="181" name="Rechteck 180"/>
            <p:cNvSpPr/>
            <p:nvPr userDrawn="1"/>
          </p:nvSpPr>
          <p:spPr>
            <a:xfrm>
              <a:off x="9674964" y="3816634"/>
              <a:ext cx="1530000" cy="401518"/>
            </a:xfrm>
            <a:prstGeom prst="rect">
              <a:avLst/>
            </a:prstGeom>
            <a:solidFill>
              <a:srgbClr val="DC1E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</a:t>
              </a:r>
              <a:r>
                <a:rPr lang="de-DE" sz="1200" dirty="0" err="1">
                  <a:solidFill>
                    <a:schemeClr val="bg1"/>
                  </a:solidFill>
                </a:rPr>
                <a:t>Echtrot</a:t>
              </a:r>
              <a:endParaRPr lang="de-DE" sz="1200" dirty="0">
                <a:solidFill>
                  <a:schemeClr val="bg1"/>
                </a:solidFill>
              </a:endParaRP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20-30-38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7500004" y="4646558"/>
            <a:ext cx="2000544" cy="1294855"/>
            <a:chOff x="7500004" y="4646559"/>
            <a:chExt cx="1875600" cy="1206000"/>
          </a:xfrm>
        </p:grpSpPr>
        <p:pic>
          <p:nvPicPr>
            <p:cNvPr id="5" name="Grafik 4"/>
            <p:cNvPicPr>
              <a:picLocks noChangeAspect="1"/>
            </p:cNvPicPr>
            <p:nvPr userDrawn="1"/>
          </p:nvPicPr>
          <p:blipFill rotWithShape="1">
            <a:blip r:embed="rId15"/>
            <a:srcRect t="2" r="3019" b="33055"/>
            <a:stretch/>
          </p:blipFill>
          <p:spPr>
            <a:xfrm>
              <a:off x="7500004" y="4646559"/>
              <a:ext cx="1278000" cy="1206000"/>
            </a:xfrm>
            <a:prstGeom prst="rect">
              <a:avLst/>
            </a:prstGeom>
          </p:spPr>
        </p:pic>
        <p:sp>
          <p:nvSpPr>
            <p:cNvPr id="6" name="Rechteck 5"/>
            <p:cNvSpPr/>
            <p:nvPr userDrawn="1"/>
          </p:nvSpPr>
          <p:spPr>
            <a:xfrm>
              <a:off x="8778004" y="4655974"/>
              <a:ext cx="595908" cy="1196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28" name="Grafik 127"/>
            <p:cNvPicPr>
              <a:picLocks noChangeAspect="1"/>
            </p:cNvPicPr>
            <p:nvPr userDrawn="1"/>
          </p:nvPicPr>
          <p:blipFill rotWithShape="1">
            <a:blip r:embed="rId15"/>
            <a:srcRect l="1374" t="66984" r="53279" b="7041"/>
            <a:stretch/>
          </p:blipFill>
          <p:spPr>
            <a:xfrm>
              <a:off x="8778004" y="4787275"/>
              <a:ext cx="597600" cy="468000"/>
            </a:xfrm>
            <a:prstGeom prst="rect">
              <a:avLst/>
            </a:prstGeom>
          </p:spPr>
        </p:pic>
        <p:pic>
          <p:nvPicPr>
            <p:cNvPr id="133" name="Grafik 132"/>
            <p:cNvPicPr>
              <a:picLocks noChangeAspect="1"/>
            </p:cNvPicPr>
            <p:nvPr userDrawn="1"/>
          </p:nvPicPr>
          <p:blipFill rotWithShape="1">
            <a:blip r:embed="rId15"/>
            <a:srcRect l="45902" t="66984" r="7659" b="7041"/>
            <a:stretch/>
          </p:blipFill>
          <p:spPr>
            <a:xfrm>
              <a:off x="8761912" y="5320597"/>
              <a:ext cx="612000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93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>
          <p15:clr>
            <a:srgbClr val="5ACBF0"/>
          </p15:clr>
        </p15:guide>
        <p15:guide id="13" pos="2048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nd Production Systems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of Presentation: Reason, Client, Co-operation partner, Le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77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5" pos="3114">
          <p15:clr>
            <a:srgbClr val="A4A3A4"/>
          </p15:clr>
        </p15:guide>
        <p15:guide id="26" orient="horz" pos="2704">
          <p15:clr>
            <a:srgbClr val="A4A3A4"/>
          </p15:clr>
        </p15:guide>
        <p15:guide id="27" orient="horz" pos="340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ör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Production Systems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7" name="Thank you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6791155" y="4811018"/>
            <a:ext cx="456105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0" b="1" cap="all" baseline="0" noProof="0"/>
              <a:t>Thank you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36D12799-7B97-4CD6-B961-9D02A8697646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nd Production Systems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of Presentation: Reason, Client, Co-operation partner, Le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378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5" pos="3114">
          <p15:clr>
            <a:srgbClr val="A4A3A4"/>
          </p15:clr>
        </p15:guide>
        <p15:guide id="26" orient="horz" pos="2704">
          <p15:clr>
            <a:srgbClr val="A4A3A4"/>
          </p15:clr>
        </p15:guide>
        <p15:guide id="27" orient="horz" pos="3407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ör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Production Systems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7" name="Thank you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6791155" y="4811018"/>
            <a:ext cx="456105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0" b="1" cap="all" baseline="0" noProof="0"/>
              <a:t>Thank you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fld id="{17D10269-7701-48C2-9897-C90A51D572AF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170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de-DE" dirty="0"/>
              <a:t>Präsentationstitel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Präsentation: Präsentationsanlass, Kunde, Kooperationspartner, Vorlesung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848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1" pos="3114">
          <p15:clr>
            <a:srgbClr val="A4A3A4"/>
          </p15:clr>
        </p15:guide>
        <p15:guide id="32" orient="horz" pos="2704">
          <p15:clr>
            <a:srgbClr val="A4A3A4"/>
          </p15:clr>
        </p15:guide>
        <p15:guide id="33" orient="horz" pos="3407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08977AA-1B13-454F-A7A7-5E54284DA029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212" y="0"/>
            <a:ext cx="839788" cy="838800"/>
            <a:chOff x="11352212" y="0"/>
            <a:chExt cx="839788" cy="8388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A29F8B8-7248-401D-BA2D-BC06A0D2199C}"/>
                </a:ext>
              </a:extLst>
            </p:cNvPr>
            <p:cNvSpPr/>
            <p:nvPr/>
          </p:nvSpPr>
          <p:spPr>
            <a:xfrm>
              <a:off x="11352212" y="0"/>
              <a:ext cx="839788" cy="838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FAPS Logo">
              <a:extLst>
                <a:ext uri="{FF2B5EF4-FFF2-40B4-BE49-F238E27FC236}">
                  <a16:creationId xmlns:a16="http://schemas.microsoft.com/office/drawing/2014/main" id="{BC303D02-1D43-4413-AFFC-C24D13E8E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05" t="3920" r="3774" b="3985"/>
            <a:stretch/>
          </p:blipFill>
          <p:spPr>
            <a:xfrm>
              <a:off x="11361890" y="1094"/>
              <a:ext cx="830110" cy="836613"/>
            </a:xfrm>
            <a:prstGeom prst="rect">
              <a:avLst/>
            </a:prstGeom>
          </p:spPr>
        </p:pic>
      </p:grpSp>
      <p:sp>
        <p:nvSpPr>
          <p:cNvPr id="13" name="Title bar">
            <a:extLst>
              <a:ext uri="{FF2B5EF4-FFF2-40B4-BE49-F238E27FC236}">
                <a16:creationId xmlns:a16="http://schemas.microsoft.com/office/drawing/2014/main" id="{992D165D-EB18-4621-B40E-4B97D4C772F6}"/>
              </a:ext>
            </a:extLst>
          </p:cNvPr>
          <p:cNvSpPr>
            <a:spLocks/>
          </p:cNvSpPr>
          <p:nvPr/>
        </p:nvSpPr>
        <p:spPr bwMode="auto">
          <a:xfrm>
            <a:off x="-1" y="388836"/>
            <a:ext cx="630000" cy="16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640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FA8F9A1-B8D7-485B-8A4C-BBEFE227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8BBCBA7C-65E1-4216-ADAA-617BD3A66C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268413"/>
            <a:ext cx="10512426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68486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63" r:id="rId3"/>
    <p:sldLayoutId id="2147484065" r:id="rId4"/>
    <p:sldLayoutId id="2147484071" r:id="rId5"/>
    <p:sldLayoutId id="2147484072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0" pos="529">
          <p15:clr>
            <a:srgbClr val="A4A3A4"/>
          </p15:clr>
        </p15:guide>
        <p15:guide id="61" orient="horz" pos="3974">
          <p15:clr>
            <a:srgbClr val="A4A3A4"/>
          </p15:clr>
        </p15:guide>
        <p15:guide id="62" orient="horz" pos="210">
          <p15:clr>
            <a:srgbClr val="A4A3A4"/>
          </p15:clr>
        </p15:guide>
        <p15:guide id="63" pos="715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08977AA-1B13-454F-A7A7-5E54284DA029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212" y="0"/>
            <a:ext cx="839788" cy="838800"/>
            <a:chOff x="11352212" y="0"/>
            <a:chExt cx="839788" cy="8388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A29F8B8-7248-401D-BA2D-BC06A0D2199C}"/>
                </a:ext>
              </a:extLst>
            </p:cNvPr>
            <p:cNvSpPr/>
            <p:nvPr/>
          </p:nvSpPr>
          <p:spPr>
            <a:xfrm>
              <a:off x="11352212" y="0"/>
              <a:ext cx="839788" cy="838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FAPS Logo">
              <a:extLst>
                <a:ext uri="{FF2B5EF4-FFF2-40B4-BE49-F238E27FC236}">
                  <a16:creationId xmlns:a16="http://schemas.microsoft.com/office/drawing/2014/main" id="{BC303D02-1D43-4413-AFFC-C24D13E8E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05" t="3920" r="3774" b="3985"/>
            <a:stretch/>
          </p:blipFill>
          <p:spPr>
            <a:xfrm>
              <a:off x="11361890" y="1094"/>
              <a:ext cx="830110" cy="836613"/>
            </a:xfrm>
            <a:prstGeom prst="rect">
              <a:avLst/>
            </a:prstGeom>
          </p:spPr>
        </p:pic>
      </p:grpSp>
      <p:sp>
        <p:nvSpPr>
          <p:cNvPr id="13" name="Title bar">
            <a:extLst>
              <a:ext uri="{FF2B5EF4-FFF2-40B4-BE49-F238E27FC236}">
                <a16:creationId xmlns:a16="http://schemas.microsoft.com/office/drawing/2014/main" id="{992D165D-EB18-4621-B40E-4B97D4C772F6}"/>
              </a:ext>
            </a:extLst>
          </p:cNvPr>
          <p:cNvSpPr>
            <a:spLocks/>
          </p:cNvSpPr>
          <p:nvPr/>
        </p:nvSpPr>
        <p:spPr bwMode="auto">
          <a:xfrm>
            <a:off x="-1" y="388836"/>
            <a:ext cx="630000" cy="16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640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FA8F9A1-B8D7-485B-8A4C-BBEFE227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8BBCBA7C-65E1-4216-ADAA-617BD3A66C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268413"/>
            <a:ext cx="10512426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4106977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6" r:id="rId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0" pos="529">
          <p15:clr>
            <a:srgbClr val="A4A3A4"/>
          </p15:clr>
        </p15:guide>
        <p15:guide id="61" orient="horz" pos="3974">
          <p15:clr>
            <a:srgbClr val="A4A3A4"/>
          </p15:clr>
        </p15:guide>
        <p15:guide id="62" orient="horz" pos="210">
          <p15:clr>
            <a:srgbClr val="A4A3A4"/>
          </p15:clr>
        </p15:guide>
        <p15:guide id="63" pos="7151">
          <p15:clr>
            <a:srgbClr val="A4A3A4"/>
          </p15:clr>
        </p15:guide>
        <p15:guide id="64" orient="horz" pos="799">
          <p15:clr>
            <a:srgbClr val="F26B43"/>
          </p15:clr>
        </p15:guide>
        <p15:guide id="65" orient="horz" pos="52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08977AA-1B13-454F-A7A7-5E54284DA029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212" y="0"/>
            <a:ext cx="839788" cy="838800"/>
            <a:chOff x="11352212" y="0"/>
            <a:chExt cx="839788" cy="8388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A29F8B8-7248-401D-BA2D-BC06A0D2199C}"/>
                </a:ext>
              </a:extLst>
            </p:cNvPr>
            <p:cNvSpPr/>
            <p:nvPr/>
          </p:nvSpPr>
          <p:spPr>
            <a:xfrm>
              <a:off x="11352212" y="0"/>
              <a:ext cx="839788" cy="838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FAPS Logo">
              <a:extLst>
                <a:ext uri="{FF2B5EF4-FFF2-40B4-BE49-F238E27FC236}">
                  <a16:creationId xmlns:a16="http://schemas.microsoft.com/office/drawing/2014/main" id="{BC303D02-1D43-4413-AFFC-C24D13E8E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05" t="3920" r="3774" b="3985"/>
            <a:stretch/>
          </p:blipFill>
          <p:spPr>
            <a:xfrm>
              <a:off x="11361890" y="1094"/>
              <a:ext cx="830110" cy="836613"/>
            </a:xfrm>
            <a:prstGeom prst="rect">
              <a:avLst/>
            </a:prstGeom>
          </p:spPr>
        </p:pic>
      </p:grpSp>
      <p:sp>
        <p:nvSpPr>
          <p:cNvPr id="13" name="Title bar">
            <a:extLst>
              <a:ext uri="{FF2B5EF4-FFF2-40B4-BE49-F238E27FC236}">
                <a16:creationId xmlns:a16="http://schemas.microsoft.com/office/drawing/2014/main" id="{992D165D-EB18-4621-B40E-4B97D4C772F6}"/>
              </a:ext>
            </a:extLst>
          </p:cNvPr>
          <p:cNvSpPr>
            <a:spLocks/>
          </p:cNvSpPr>
          <p:nvPr/>
        </p:nvSpPr>
        <p:spPr bwMode="auto">
          <a:xfrm>
            <a:off x="-1" y="388836"/>
            <a:ext cx="630000" cy="16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640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FA8F9A1-B8D7-485B-8A4C-BBEFE227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8BBCBA7C-65E1-4216-ADAA-617BD3A66C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268413"/>
            <a:ext cx="10512426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472393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0" pos="529">
          <p15:clr>
            <a:srgbClr val="A4A3A4"/>
          </p15:clr>
        </p15:guide>
        <p15:guide id="61" orient="horz" pos="3974">
          <p15:clr>
            <a:srgbClr val="A4A3A4"/>
          </p15:clr>
        </p15:guide>
        <p15:guide id="62" orient="horz" pos="210">
          <p15:clr>
            <a:srgbClr val="A4A3A4"/>
          </p15:clr>
        </p15:guide>
        <p15:guide id="63" pos="715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mf.org/external/terms.htm" TargetMode="External"/><Relationship Id="rId2" Type="http://schemas.openxmlformats.org/officeDocument/2006/relationships/hyperlink" Target="https://climatedata.imf.org/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071664" y="4292599"/>
            <a:ext cx="8928620" cy="1224632"/>
          </a:xfrm>
        </p:spPr>
        <p:txBody>
          <a:bodyPr/>
          <a:lstStyle/>
          <a:p>
            <a:r>
              <a:rPr lang="en-US" dirty="0"/>
              <a:t>Interlinked Dynamics: Exploring the Correlations between Surface Temperature, Atmospheric CO2, Sea Level Rise, and Land Cover Changes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071664" y="5588741"/>
            <a:ext cx="6408738" cy="648569"/>
          </a:xfrm>
        </p:spPr>
        <p:txBody>
          <a:bodyPr/>
          <a:lstStyle/>
          <a:p>
            <a:r>
              <a:rPr lang="en-US" dirty="0"/>
              <a:t>MADE Final Presentation </a:t>
            </a:r>
          </a:p>
          <a:p>
            <a:r>
              <a:rPr lang="de-DE" dirty="0"/>
              <a:t>Hassan Ahmed - 23069970</a:t>
            </a:r>
          </a:p>
        </p:txBody>
      </p:sp>
      <p:pic>
        <p:nvPicPr>
          <p:cNvPr id="5" name="Picture 4" descr="A cloud with text in the middle of a forest&#10;&#10;Description automatically generated">
            <a:extLst>
              <a:ext uri="{FF2B5EF4-FFF2-40B4-BE49-F238E27FC236}">
                <a16:creationId xmlns:a16="http://schemas.microsoft.com/office/drawing/2014/main" id="{AC13002D-E9E0-2AA0-CA0E-0997CB4794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5" y="1"/>
            <a:ext cx="12192000" cy="422108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D5FAD08-70E1-CAEC-A226-67813E805A9B}"/>
              </a:ext>
            </a:extLst>
          </p:cNvPr>
          <p:cNvSpPr txBox="1"/>
          <p:nvPr/>
        </p:nvSpPr>
        <p:spPr>
          <a:xfrm>
            <a:off x="335360" y="4292599"/>
            <a:ext cx="2160240" cy="18001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US" b="1" dirty="0"/>
              <a:t>Prof. Georg Schwarz</a:t>
            </a:r>
          </a:p>
          <a:p>
            <a:pPr>
              <a:buClr>
                <a:srgbClr val="97C139"/>
              </a:buClr>
            </a:pPr>
            <a:r>
              <a:rPr lang="en-US" b="1" dirty="0"/>
              <a:t>Prof. Philip </a:t>
            </a:r>
            <a:r>
              <a:rPr lang="en-US" b="1" dirty="0" err="1"/>
              <a:t>Heltweg</a:t>
            </a:r>
            <a:endParaRPr lang="en-US" b="1" dirty="0"/>
          </a:p>
          <a:p>
            <a:pPr>
              <a:buClr>
                <a:srgbClr val="97C139"/>
              </a:buClr>
            </a:pPr>
            <a:r>
              <a:rPr lang="en-US" dirty="0"/>
              <a:t>Professorship for open-source software</a:t>
            </a:r>
          </a:p>
          <a:p>
            <a:pPr>
              <a:buClr>
                <a:srgbClr val="97C139"/>
              </a:buClr>
            </a:pPr>
            <a:endParaRPr lang="en-DE" dirty="0" err="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EF2BB7F-0F64-FA1A-4AA3-36C9074C3A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320" y="5417656"/>
            <a:ext cx="2286319" cy="990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8694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A97E7-B456-42B8-BFEB-782D6641B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5DB347B-B1A6-42DC-BB75-F746DB0A3A2A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84EAFE-FA2E-4A6C-9A56-A41BDB3A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591D83-F1E4-4026-91B4-4B64130E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579" y="333375"/>
            <a:ext cx="10368033" cy="503238"/>
          </a:xfrm>
        </p:spPr>
        <p:txBody>
          <a:bodyPr/>
          <a:lstStyle/>
          <a:p>
            <a:pPr lvl="0"/>
            <a:r>
              <a:rPr lang="en-US" dirty="0"/>
              <a:t>Deployment: CI (Tests &amp; </a:t>
            </a:r>
            <a:r>
              <a:rPr lang="de-DE" dirty="0"/>
              <a:t>Code Quality Checks</a:t>
            </a:r>
            <a:r>
              <a:rPr lang="en-US" dirty="0"/>
              <a:t>)</a:t>
            </a:r>
            <a:endParaRPr lang="en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ED318D-D0F5-4655-8441-FDC15AA66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01C48F-84D7-49FF-B742-435999AADF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579" y="939424"/>
            <a:ext cx="10368034" cy="5153872"/>
          </a:xfrm>
        </p:spPr>
        <p:txBody>
          <a:bodyPr/>
          <a:lstStyle/>
          <a:p>
            <a:pPr marL="0" lvl="2" indent="0">
              <a:buNone/>
            </a:pPr>
            <a:r>
              <a:rPr lang="en-US" b="1" dirty="0"/>
              <a:t>Continuous Integration (CI)</a:t>
            </a:r>
          </a:p>
          <a:p>
            <a:pPr lvl="2"/>
            <a:r>
              <a:rPr lang="de-DE" dirty="0" err="1">
                <a:sym typeface="Calibri"/>
              </a:rPr>
              <a:t>Seamless</a:t>
            </a:r>
            <a:r>
              <a:rPr lang="de-DE" dirty="0">
                <a:sym typeface="Calibri"/>
              </a:rPr>
              <a:t> </a:t>
            </a:r>
            <a:r>
              <a:rPr lang="de-DE" dirty="0" err="1">
                <a:sym typeface="Calibri"/>
              </a:rPr>
              <a:t>integration</a:t>
            </a:r>
            <a:r>
              <a:rPr lang="de-DE" dirty="0">
                <a:sym typeface="Calibri"/>
              </a:rPr>
              <a:t> </a:t>
            </a:r>
            <a:r>
              <a:rPr lang="de-DE" dirty="0" err="1">
                <a:sym typeface="Calibri"/>
              </a:rPr>
              <a:t>using</a:t>
            </a:r>
            <a:r>
              <a:rPr lang="de-DE" dirty="0">
                <a:sym typeface="Calibri"/>
              </a:rPr>
              <a:t> </a:t>
            </a:r>
            <a:r>
              <a:rPr lang="de-DE" dirty="0" err="1">
                <a:sym typeface="Calibri"/>
              </a:rPr>
              <a:t>Github</a:t>
            </a:r>
            <a:r>
              <a:rPr lang="de-DE" dirty="0">
                <a:sym typeface="Calibri"/>
              </a:rPr>
              <a:t> Actions</a:t>
            </a:r>
            <a:endParaRPr lang="en-US" dirty="0"/>
          </a:p>
          <a:p>
            <a:pPr lvl="2"/>
            <a:r>
              <a:rPr lang="en-US" b="1" dirty="0"/>
              <a:t>Automated Testing: </a:t>
            </a:r>
            <a:r>
              <a:rPr lang="en-US" dirty="0" err="1"/>
              <a:t>Pytest</a:t>
            </a:r>
            <a:r>
              <a:rPr lang="en-US" dirty="0"/>
              <a:t> is used as testing framework</a:t>
            </a:r>
          </a:p>
          <a:p>
            <a:pPr lvl="3"/>
            <a:r>
              <a:rPr lang="de-DE" dirty="0">
                <a:sym typeface="Calibri"/>
              </a:rPr>
              <a:t>Every </a:t>
            </a:r>
            <a:r>
              <a:rPr lang="de-DE" dirty="0" err="1">
                <a:sym typeface="Calibri"/>
              </a:rPr>
              <a:t>module</a:t>
            </a:r>
            <a:r>
              <a:rPr lang="de-DE" dirty="0">
                <a:sym typeface="Calibri"/>
              </a:rPr>
              <a:t> and </a:t>
            </a:r>
            <a:r>
              <a:rPr lang="de-DE" dirty="0" err="1">
                <a:sym typeface="Calibri"/>
              </a:rPr>
              <a:t>every</a:t>
            </a:r>
            <a:r>
              <a:rPr lang="de-DE" dirty="0">
                <a:sym typeface="Calibri"/>
              </a:rPr>
              <a:t> </a:t>
            </a:r>
            <a:r>
              <a:rPr lang="de-DE" dirty="0" err="1">
                <a:sym typeface="Calibri"/>
              </a:rPr>
              <a:t>method</a:t>
            </a:r>
            <a:r>
              <a:rPr lang="de-DE" dirty="0">
                <a:sym typeface="Calibri"/>
              </a:rPr>
              <a:t> is </a:t>
            </a:r>
            <a:r>
              <a:rPr lang="de-DE" dirty="0" err="1">
                <a:sym typeface="Calibri"/>
              </a:rPr>
              <a:t>tested</a:t>
            </a:r>
            <a:r>
              <a:rPr lang="de-DE" dirty="0">
                <a:sym typeface="Calibri"/>
              </a:rPr>
              <a:t> </a:t>
            </a:r>
            <a:r>
              <a:rPr lang="de-DE" dirty="0" err="1">
                <a:sym typeface="Calibri"/>
              </a:rPr>
              <a:t>individually</a:t>
            </a:r>
            <a:endParaRPr lang="de-DE" dirty="0">
              <a:sym typeface="Calibri"/>
            </a:endParaRPr>
          </a:p>
          <a:p>
            <a:pPr lvl="2"/>
            <a:r>
              <a:rPr lang="en-US" dirty="0"/>
              <a:t>Automate code quality checks</a:t>
            </a:r>
          </a:p>
          <a:p>
            <a:pPr lvl="2"/>
            <a:r>
              <a:rPr lang="en-US" dirty="0"/>
              <a:t>Ensure consistent formatting</a:t>
            </a:r>
          </a:p>
          <a:p>
            <a:pPr lvl="2"/>
            <a:r>
              <a:rPr lang="en-US" dirty="0"/>
              <a:t>Prevent common issues pre-commit</a:t>
            </a:r>
          </a:p>
          <a:p>
            <a:pPr lvl="2"/>
            <a:endParaRPr lang="en-US" dirty="0"/>
          </a:p>
          <a:p>
            <a:pPr marL="0" lvl="2" indent="0">
              <a:buNone/>
            </a:pPr>
            <a:r>
              <a:rPr lang="en-US" b="1" dirty="0"/>
              <a:t>Hooks and Functions</a:t>
            </a:r>
          </a:p>
          <a:p>
            <a:pPr lvl="3"/>
            <a:r>
              <a:rPr lang="en-US" b="1" dirty="0"/>
              <a:t>Pre-commit Hooks:</a:t>
            </a:r>
          </a:p>
          <a:p>
            <a:pPr lvl="7"/>
            <a:r>
              <a:rPr lang="en-US" dirty="0"/>
              <a:t>trailing-whitespace: Removes trailing spaces</a:t>
            </a:r>
          </a:p>
          <a:p>
            <a:pPr lvl="7"/>
            <a:r>
              <a:rPr lang="en-US" dirty="0"/>
              <a:t>end-of-file-fixer: Adds newline at end of files</a:t>
            </a:r>
          </a:p>
          <a:p>
            <a:pPr lvl="7"/>
            <a:r>
              <a:rPr lang="en-US" dirty="0"/>
              <a:t>check-</a:t>
            </a:r>
            <a:r>
              <a:rPr lang="en-US" dirty="0" err="1"/>
              <a:t>yaml</a:t>
            </a:r>
            <a:r>
              <a:rPr lang="en-US" dirty="0"/>
              <a:t>: Validates YAML files</a:t>
            </a:r>
          </a:p>
          <a:p>
            <a:pPr lvl="7"/>
            <a:r>
              <a:rPr lang="en-US" dirty="0"/>
              <a:t>check-added-large-files: Blocks large files</a:t>
            </a:r>
          </a:p>
          <a:p>
            <a:pPr lvl="7"/>
            <a:r>
              <a:rPr lang="en-US" dirty="0"/>
              <a:t>check-</a:t>
            </a:r>
            <a:r>
              <a:rPr lang="en-US" dirty="0" err="1"/>
              <a:t>ast</a:t>
            </a:r>
            <a:r>
              <a:rPr lang="en-US" dirty="0"/>
              <a:t>: Checks Python syntax</a:t>
            </a:r>
          </a:p>
          <a:p>
            <a:pPr lvl="6"/>
            <a:r>
              <a:rPr lang="en-US" dirty="0"/>
              <a:t>requirements-txt-fixer: Fixes requirements.txt formatting</a:t>
            </a:r>
          </a:p>
          <a:p>
            <a:pPr lvl="3"/>
            <a:r>
              <a:rPr lang="en-US" b="1" dirty="0"/>
              <a:t>ruff: </a:t>
            </a:r>
            <a:r>
              <a:rPr lang="en-US" dirty="0" err="1"/>
              <a:t>Lints</a:t>
            </a:r>
            <a:r>
              <a:rPr lang="en-US" dirty="0"/>
              <a:t> and auto-fixes Python code</a:t>
            </a:r>
          </a:p>
          <a:p>
            <a:pPr lvl="3"/>
            <a:r>
              <a:rPr lang="en-US" b="1" dirty="0"/>
              <a:t>black: </a:t>
            </a:r>
            <a:r>
              <a:rPr lang="en-US" dirty="0"/>
              <a:t>Formats Python code to PEP 8 standards</a:t>
            </a:r>
          </a:p>
          <a:p>
            <a:pPr lvl="2"/>
            <a:endParaRPr lang="en-US" dirty="0"/>
          </a:p>
          <a:p>
            <a:pPr marL="0" lvl="2" indent="0">
              <a:buNone/>
            </a:pPr>
            <a:endParaRPr lang="en-US" dirty="0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874A22B-78DD-7192-7825-34F5839E6E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061547"/>
              </p:ext>
            </p:extLst>
          </p:nvPr>
        </p:nvGraphicFramePr>
        <p:xfrm>
          <a:off x="5756257" y="1592699"/>
          <a:ext cx="5591668" cy="4212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006591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A97E7-B456-42B8-BFEB-782D6641B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5DB347B-B1A6-42DC-BB75-F746DB0A3A2A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84EAFE-FA2E-4A6C-9A56-A41BDB3A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591D83-F1E4-4026-91B4-4B64130E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579" y="333375"/>
            <a:ext cx="10368033" cy="503238"/>
          </a:xfrm>
        </p:spPr>
        <p:txBody>
          <a:bodyPr/>
          <a:lstStyle/>
          <a:p>
            <a:pPr lvl="0"/>
            <a:r>
              <a:rPr lang="en-US" dirty="0"/>
              <a:t>Documentation (HTML) -I</a:t>
            </a:r>
            <a:endParaRPr lang="en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ED318D-D0F5-4655-8441-FDC15AA66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01C48F-84D7-49FF-B742-435999AADF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579" y="939424"/>
            <a:ext cx="10368034" cy="5153872"/>
          </a:xfrm>
        </p:spPr>
        <p:txBody>
          <a:bodyPr/>
          <a:lstStyle/>
          <a:p>
            <a:pPr marR="0" lvl="2">
              <a:spcAft>
                <a:spcPts val="0"/>
              </a:spcAft>
            </a:pPr>
            <a:r>
              <a:rPr lang="de-DE" dirty="0">
                <a:sym typeface="Calibri"/>
              </a:rPr>
              <a:t>Viewable in web-browser</a:t>
            </a:r>
          </a:p>
          <a:p>
            <a:pPr marR="0" lvl="2">
              <a:spcAft>
                <a:spcPts val="0"/>
              </a:spcAft>
            </a:pPr>
            <a:r>
              <a:rPr lang="de-DE" dirty="0" err="1">
                <a:sym typeface="Calibri"/>
              </a:rPr>
              <a:t>Local</a:t>
            </a:r>
            <a:r>
              <a:rPr lang="de-DE" dirty="0">
                <a:sym typeface="Calibri"/>
              </a:rPr>
              <a:t> and </a:t>
            </a:r>
            <a:r>
              <a:rPr lang="de-DE" dirty="0" err="1">
                <a:sym typeface="Calibri"/>
              </a:rPr>
              <a:t>easily</a:t>
            </a:r>
            <a:r>
              <a:rPr lang="de-DE" dirty="0">
                <a:sym typeface="Calibri"/>
              </a:rPr>
              <a:t> </a:t>
            </a:r>
            <a:r>
              <a:rPr lang="de-DE" dirty="0" err="1">
                <a:sym typeface="Calibri"/>
              </a:rPr>
              <a:t>updated</a:t>
            </a:r>
            <a:r>
              <a:rPr lang="de-DE" dirty="0">
                <a:sym typeface="Calibri"/>
              </a:rPr>
              <a:t> </a:t>
            </a:r>
            <a:r>
              <a:rPr lang="de-DE" dirty="0" err="1">
                <a:sym typeface="Calibri"/>
              </a:rPr>
              <a:t>to</a:t>
            </a:r>
            <a:r>
              <a:rPr lang="de-DE" dirty="0">
                <a:sym typeface="Calibri"/>
              </a:rPr>
              <a:t> </a:t>
            </a:r>
            <a:r>
              <a:rPr lang="de-DE" dirty="0" err="1">
                <a:sym typeface="Calibri"/>
              </a:rPr>
              <a:t>reflect</a:t>
            </a:r>
            <a:r>
              <a:rPr lang="de-DE" dirty="0">
                <a:sym typeface="Calibri"/>
              </a:rPr>
              <a:t> </a:t>
            </a:r>
            <a:r>
              <a:rPr lang="de-DE" dirty="0" err="1">
                <a:sym typeface="Calibri"/>
              </a:rPr>
              <a:t>any</a:t>
            </a:r>
            <a:r>
              <a:rPr lang="de-DE" dirty="0">
                <a:sym typeface="Calibri"/>
              </a:rPr>
              <a:t> </a:t>
            </a:r>
            <a:r>
              <a:rPr lang="de-DE" dirty="0" err="1">
                <a:sym typeface="Calibri"/>
              </a:rPr>
              <a:t>changes</a:t>
            </a:r>
            <a:endParaRPr lang="de-DE" dirty="0">
              <a:sym typeface="Calibri"/>
            </a:endParaRPr>
          </a:p>
          <a:p>
            <a:pPr marR="0" lvl="2">
              <a:spcAft>
                <a:spcPts val="0"/>
              </a:spcAft>
            </a:pPr>
            <a:r>
              <a:rPr lang="de-DE" dirty="0">
                <a:sym typeface="Calibri"/>
              </a:rPr>
              <a:t>Code </a:t>
            </a:r>
            <a:r>
              <a:rPr lang="de-DE" dirty="0" err="1">
                <a:sym typeface="Calibri"/>
              </a:rPr>
              <a:t>comments</a:t>
            </a:r>
            <a:r>
              <a:rPr lang="de-DE" dirty="0">
                <a:sym typeface="Calibri"/>
              </a:rPr>
              <a:t> </a:t>
            </a:r>
            <a:r>
              <a:rPr lang="de-DE" dirty="0" err="1">
                <a:sym typeface="Calibri"/>
              </a:rPr>
              <a:t>are</a:t>
            </a:r>
            <a:r>
              <a:rPr lang="de-DE" dirty="0">
                <a:sym typeface="Calibri"/>
              </a:rPr>
              <a:t> </a:t>
            </a:r>
            <a:r>
              <a:rPr lang="de-DE" dirty="0" err="1">
                <a:sym typeface="Calibri"/>
              </a:rPr>
              <a:t>rendered</a:t>
            </a:r>
            <a:r>
              <a:rPr lang="de-DE" dirty="0">
                <a:sym typeface="Calibri"/>
              </a:rPr>
              <a:t>, </a:t>
            </a:r>
            <a:r>
              <a:rPr lang="de-DE" dirty="0" err="1">
                <a:sym typeface="Calibri"/>
              </a:rPr>
              <a:t>searchable</a:t>
            </a:r>
            <a:r>
              <a:rPr lang="de-DE" dirty="0">
                <a:sym typeface="Calibri"/>
              </a:rPr>
              <a:t>, and </a:t>
            </a:r>
            <a:r>
              <a:rPr lang="de-DE" dirty="0" err="1">
                <a:sym typeface="Calibri"/>
              </a:rPr>
              <a:t>structured</a:t>
            </a:r>
            <a:endParaRPr lang="de-DE" dirty="0">
              <a:sym typeface="Calibri"/>
            </a:endParaRPr>
          </a:p>
          <a:p>
            <a:pPr lvl="2"/>
            <a:endParaRPr lang="en-US" dirty="0"/>
          </a:p>
          <a:p>
            <a:pPr marL="0" lvl="2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920435-A104-F476-F105-E0143BD8F3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788" y="1932184"/>
            <a:ext cx="10224764" cy="408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2780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A97E7-B456-42B8-BFEB-782D6641B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5DB347B-B1A6-42DC-BB75-F746DB0A3A2A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84EAFE-FA2E-4A6C-9A56-A41BDB3A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591D83-F1E4-4026-91B4-4B64130E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579" y="333375"/>
            <a:ext cx="10368033" cy="503238"/>
          </a:xfrm>
        </p:spPr>
        <p:txBody>
          <a:bodyPr/>
          <a:lstStyle/>
          <a:p>
            <a:pPr lvl="0"/>
            <a:r>
              <a:rPr lang="en-US" dirty="0"/>
              <a:t>Documentation (HTML) - II</a:t>
            </a:r>
            <a:endParaRPr lang="en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ED318D-D0F5-4655-8441-FDC15AA66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01C48F-84D7-49FF-B742-435999AADF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579" y="939424"/>
            <a:ext cx="10368034" cy="5153872"/>
          </a:xfrm>
        </p:spPr>
        <p:txBody>
          <a:bodyPr/>
          <a:lstStyle/>
          <a:p>
            <a:pPr lvl="2"/>
            <a:endParaRPr lang="en-US" dirty="0"/>
          </a:p>
          <a:p>
            <a:pPr marL="0" lvl="2" indent="0">
              <a:buNone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E00D9D6-46E4-4AE8-0799-A52EF57612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579" y="836613"/>
            <a:ext cx="10368033" cy="5028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178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A97E7-B456-42B8-BFEB-782D6641B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5DB347B-B1A6-42DC-BB75-F746DB0A3A2A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84EAFE-FA2E-4A6C-9A56-A41BDB3A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591D83-F1E4-4026-91B4-4B64130E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579" y="333375"/>
            <a:ext cx="10368033" cy="503238"/>
          </a:xfrm>
        </p:spPr>
        <p:txBody>
          <a:bodyPr/>
          <a:lstStyle/>
          <a:p>
            <a:pPr lvl="0"/>
            <a:r>
              <a:rPr lang="en-US" dirty="0"/>
              <a:t>Analysis - I</a:t>
            </a:r>
            <a:endParaRPr lang="en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ED318D-D0F5-4655-8441-FDC15AA66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01C48F-84D7-49FF-B742-435999AADF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579" y="939423"/>
            <a:ext cx="10560842" cy="5387897"/>
          </a:xfrm>
        </p:spPr>
        <p:txBody>
          <a:bodyPr/>
          <a:lstStyle/>
          <a:p>
            <a:pPr marL="0" lvl="2" indent="0">
              <a:buNone/>
            </a:pPr>
            <a:r>
              <a:rPr lang="en-US" b="1" dirty="0">
                <a:sym typeface="Calibri"/>
              </a:rPr>
              <a:t>Temperature Change</a:t>
            </a:r>
          </a:p>
          <a:p>
            <a:pPr lvl="2"/>
            <a:r>
              <a:rPr lang="en-US" dirty="0">
                <a:sym typeface="Calibri"/>
              </a:rPr>
              <a:t>The Northern Hemisphere, especially higher latitudes </a:t>
            </a:r>
          </a:p>
          <a:p>
            <a:pPr marL="0" lvl="2" indent="0">
              <a:buNone/>
            </a:pPr>
            <a:r>
              <a:rPr lang="en-US" dirty="0">
                <a:sym typeface="Calibri"/>
              </a:rPr>
              <a:t>    like Russia and Canada, show significant increases</a:t>
            </a:r>
          </a:p>
          <a:p>
            <a:pPr marL="0" lvl="2" indent="0">
              <a:buNone/>
            </a:pPr>
            <a:r>
              <a:rPr lang="en-US" b="1" dirty="0">
                <a:sym typeface="Calibri"/>
              </a:rPr>
              <a:t>Sea Level Rise</a:t>
            </a:r>
          </a:p>
          <a:p>
            <a:pPr lvl="2"/>
            <a:r>
              <a:rPr lang="en-US" dirty="0">
                <a:sym typeface="Calibri"/>
              </a:rPr>
              <a:t>Trend of rising sea levels from 1993 to 2021 </a:t>
            </a:r>
          </a:p>
          <a:p>
            <a:pPr marL="0" lvl="2" indent="0">
              <a:buNone/>
            </a:pPr>
            <a:r>
              <a:rPr lang="en-US" dirty="0">
                <a:sym typeface="Calibri"/>
              </a:rPr>
              <a:t>    due to thermal expansion and melting ice caps, </a:t>
            </a:r>
          </a:p>
          <a:p>
            <a:pPr marL="0" lvl="2" indent="0">
              <a:buNone/>
            </a:pPr>
            <a:r>
              <a:rPr lang="en-US" dirty="0">
                <a:sym typeface="Calibri"/>
              </a:rPr>
              <a:t>    highest in the Baltic Sea</a:t>
            </a:r>
          </a:p>
          <a:p>
            <a:pPr lvl="2"/>
            <a:endParaRPr lang="en-US" dirty="0"/>
          </a:p>
          <a:p>
            <a:pPr marL="0" lvl="2" indent="0">
              <a:buNone/>
            </a:pPr>
            <a:endParaRPr lang="en-US" dirty="0"/>
          </a:p>
        </p:txBody>
      </p:sp>
      <p:pic>
        <p:nvPicPr>
          <p:cNvPr id="8" name="Picture 7" descr="A map of the world&#10;&#10;Description automatically generated">
            <a:extLst>
              <a:ext uri="{FF2B5EF4-FFF2-40B4-BE49-F238E27FC236}">
                <a16:creationId xmlns:a16="http://schemas.microsoft.com/office/drawing/2014/main" id="{C17BC789-D8FD-955D-8DFF-91AC2B361E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1984" y="939424"/>
            <a:ext cx="5400224" cy="230136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Picture 10" descr="A graph showing a change in sea levels&#10;&#10;Description automatically generated">
            <a:extLst>
              <a:ext uri="{FF2B5EF4-FFF2-40B4-BE49-F238E27FC236}">
                <a16:creationId xmlns:a16="http://schemas.microsoft.com/office/drawing/2014/main" id="{9B3D6EE3-B85F-3213-610E-45C1DE61B1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5579" y="3376302"/>
            <a:ext cx="4704357" cy="295101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Picture 12" descr="A graph of a chart&#10;&#10;Description automatically generated with medium confidence">
            <a:extLst>
              <a:ext uri="{FF2B5EF4-FFF2-40B4-BE49-F238E27FC236}">
                <a16:creationId xmlns:a16="http://schemas.microsoft.com/office/drawing/2014/main" id="{6C4D1E6E-A87C-7480-75DD-4F3D25A9A0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1984" y="3343603"/>
            <a:ext cx="5400224" cy="29678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922383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A97E7-B456-42B8-BFEB-782D6641B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5DB347B-B1A6-42DC-BB75-F746DB0A3A2A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84EAFE-FA2E-4A6C-9A56-A41BDB3A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591D83-F1E4-4026-91B4-4B64130E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579" y="333375"/>
            <a:ext cx="10368033" cy="503238"/>
          </a:xfrm>
        </p:spPr>
        <p:txBody>
          <a:bodyPr/>
          <a:lstStyle/>
          <a:p>
            <a:pPr lvl="0"/>
            <a:r>
              <a:rPr lang="en-US" dirty="0"/>
              <a:t>Analysis - II</a:t>
            </a:r>
            <a:endParaRPr lang="en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ED318D-D0F5-4655-8441-FDC15AA66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01C48F-84D7-49FF-B742-435999AADF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579" y="939423"/>
            <a:ext cx="10368034" cy="5359875"/>
          </a:xfrm>
        </p:spPr>
        <p:txBody>
          <a:bodyPr/>
          <a:lstStyle/>
          <a:p>
            <a:pPr marL="0" lvl="2" indent="0">
              <a:buNone/>
            </a:pPr>
            <a:r>
              <a:rPr lang="en-US" b="1" dirty="0">
                <a:sym typeface="Calibri"/>
              </a:rPr>
              <a:t>CO2 Levels</a:t>
            </a:r>
          </a:p>
          <a:p>
            <a:pPr lvl="2"/>
            <a:r>
              <a:rPr lang="en-US" dirty="0">
                <a:sym typeface="Calibri"/>
              </a:rPr>
              <a:t>Steady increase in atmospheric CO2 concentrations</a:t>
            </a:r>
          </a:p>
          <a:p>
            <a:pPr marL="0" lvl="2" indent="0">
              <a:buNone/>
            </a:pPr>
            <a:r>
              <a:rPr lang="en-US" dirty="0">
                <a:sym typeface="Calibri"/>
              </a:rPr>
              <a:t>    from 2000 to 2021, continuous rise with seasonal variations</a:t>
            </a:r>
          </a:p>
          <a:p>
            <a:pPr marL="0" lvl="2" indent="0">
              <a:buNone/>
            </a:pPr>
            <a:endParaRPr lang="en-US" dirty="0">
              <a:sym typeface="Calibri"/>
            </a:endParaRPr>
          </a:p>
          <a:p>
            <a:pPr marL="0" lvl="2" indent="0">
              <a:buNone/>
            </a:pPr>
            <a:r>
              <a:rPr lang="de-DE" b="1" dirty="0"/>
              <a:t>Correlation Analysis</a:t>
            </a:r>
          </a:p>
          <a:p>
            <a:pPr lvl="2"/>
            <a:r>
              <a:rPr lang="de-DE" dirty="0"/>
              <a:t>Strong positive correlation</a:t>
            </a:r>
            <a:r>
              <a:rPr lang="de-DE" b="1" dirty="0"/>
              <a:t> </a:t>
            </a:r>
            <a:r>
              <a:rPr lang="de-DE" dirty="0"/>
              <a:t>between CO2 and sea level rise</a:t>
            </a:r>
          </a:p>
          <a:p>
            <a:pPr lvl="2"/>
            <a:r>
              <a:rPr lang="de-DE" dirty="0"/>
              <a:t>No significant correlation between surface temperature</a:t>
            </a:r>
          </a:p>
          <a:p>
            <a:pPr marL="0" lvl="2" indent="0">
              <a:buNone/>
            </a:pPr>
            <a:r>
              <a:rPr lang="de-DE" dirty="0"/>
              <a:t>    and land cover</a:t>
            </a:r>
            <a:endParaRPr lang="en-US" dirty="0"/>
          </a:p>
          <a:p>
            <a:pPr lvl="2"/>
            <a:endParaRPr lang="en-US" dirty="0"/>
          </a:p>
          <a:p>
            <a:pPr marL="0" lvl="2" indent="0">
              <a:buNone/>
            </a:pPr>
            <a:endParaRPr lang="en-US" dirty="0"/>
          </a:p>
        </p:txBody>
      </p:sp>
      <p:pic>
        <p:nvPicPr>
          <p:cNvPr id="9" name="Picture 8" descr="A graph showing a graph of carbon dioxide concentration&#10;&#10;Description automatically generated">
            <a:extLst>
              <a:ext uri="{FF2B5EF4-FFF2-40B4-BE49-F238E27FC236}">
                <a16:creationId xmlns:a16="http://schemas.microsoft.com/office/drawing/2014/main" id="{2B789826-EA2D-D63F-A033-9D8A6126A2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940081"/>
            <a:ext cx="5087612" cy="239124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Picture 11" descr="A graph with blue dots&#10;&#10;Description automatically generated">
            <a:extLst>
              <a:ext uri="{FF2B5EF4-FFF2-40B4-BE49-F238E27FC236}">
                <a16:creationId xmlns:a16="http://schemas.microsoft.com/office/drawing/2014/main" id="{78CD631A-ACAB-8D54-A181-0D36E7A108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193" y="3526670"/>
            <a:ext cx="4764751" cy="27262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Picture 14" descr="A graph of a graph showing the temperature of a person&#10;&#10;Description automatically generated with medium confidence">
            <a:extLst>
              <a:ext uri="{FF2B5EF4-FFF2-40B4-BE49-F238E27FC236}">
                <a16:creationId xmlns:a16="http://schemas.microsoft.com/office/drawing/2014/main" id="{9ECF2527-6CEF-E110-0997-9BD9E76648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3526669"/>
            <a:ext cx="5087612" cy="27262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812389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A97E7-B456-42B8-BFEB-782D6641B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5DB347B-B1A6-42DC-BB75-F746DB0A3A2A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84EAFE-FA2E-4A6C-9A56-A41BDB3A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591D83-F1E4-4026-91B4-4B64130E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579" y="333375"/>
            <a:ext cx="10368033" cy="503238"/>
          </a:xfrm>
        </p:spPr>
        <p:txBody>
          <a:bodyPr/>
          <a:lstStyle/>
          <a:p>
            <a:pPr lvl="0"/>
            <a:r>
              <a:rPr lang="de-DE" dirty="0"/>
              <a:t>Conclusion</a:t>
            </a:r>
            <a:endParaRPr lang="en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ED318D-D0F5-4655-8441-FDC15AA66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01C48F-84D7-49FF-B742-435999AADF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579" y="939423"/>
            <a:ext cx="10368034" cy="5359875"/>
          </a:xfrm>
        </p:spPr>
        <p:txBody>
          <a:bodyPr/>
          <a:lstStyle/>
          <a:p>
            <a:pPr marL="0" lvl="2" indent="0">
              <a:buNone/>
            </a:pPr>
            <a:r>
              <a:rPr lang="en-US" b="1" dirty="0"/>
              <a:t>CO2 and Sea Level Rise</a:t>
            </a:r>
          </a:p>
          <a:p>
            <a:pPr marL="0" lvl="2" indent="0">
              <a:buNone/>
            </a:pPr>
            <a:endParaRPr lang="en-US" b="1" dirty="0">
              <a:sym typeface="Calibri"/>
            </a:endParaRPr>
          </a:p>
          <a:p>
            <a:pPr lvl="2"/>
            <a:r>
              <a:rPr lang="en-US" dirty="0">
                <a:sym typeface="Calibri"/>
              </a:rPr>
              <a:t>CO2 levels are on the rise and so is the level of sea</a:t>
            </a:r>
          </a:p>
          <a:p>
            <a:pPr lvl="2"/>
            <a:r>
              <a:rPr lang="en-US" dirty="0">
                <a:sym typeface="Calibri"/>
              </a:rPr>
              <a:t>There is a positive correlation between these two</a:t>
            </a:r>
          </a:p>
          <a:p>
            <a:pPr lvl="2"/>
            <a:r>
              <a:rPr lang="en-US" dirty="0">
                <a:sym typeface="Calibri"/>
              </a:rPr>
              <a:t>This indicates that CO2 increase leads to thermal expansion and due to heat and ice melts leading to the rise of sea levels</a:t>
            </a:r>
          </a:p>
          <a:p>
            <a:pPr lvl="2"/>
            <a:endParaRPr lang="en-US" dirty="0">
              <a:sym typeface="Calibri"/>
            </a:endParaRPr>
          </a:p>
          <a:p>
            <a:pPr marL="0" lvl="2" indent="0">
              <a:buNone/>
            </a:pPr>
            <a:r>
              <a:rPr lang="en-US" b="1" dirty="0">
                <a:sym typeface="Calibri"/>
              </a:rPr>
              <a:t>Relationship between Temperature and Land Cover</a:t>
            </a:r>
          </a:p>
          <a:p>
            <a:pPr marL="0" lvl="2" indent="0">
              <a:buNone/>
            </a:pPr>
            <a:endParaRPr lang="en-US" b="1" dirty="0">
              <a:sym typeface="Calibri"/>
            </a:endParaRPr>
          </a:p>
          <a:p>
            <a:pPr lvl="2"/>
            <a:r>
              <a:rPr lang="en-US" dirty="0">
                <a:sym typeface="Calibri"/>
              </a:rPr>
              <a:t>No significant relationship was identified in this study</a:t>
            </a:r>
          </a:p>
          <a:p>
            <a:pPr lvl="2"/>
            <a:r>
              <a:rPr lang="en-US" dirty="0">
                <a:sym typeface="Calibri"/>
              </a:rPr>
              <a:t>Possible influences: The decision-making policies connected to global climate regulations, methods of agriculture and their impact on the land, and the readiness of ecosystems to bounce back</a:t>
            </a:r>
          </a:p>
          <a:p>
            <a:pPr lvl="2"/>
            <a:endParaRPr lang="en-US" dirty="0">
              <a:sym typeface="Calibri"/>
            </a:endParaRPr>
          </a:p>
          <a:p>
            <a:pPr marL="0" lvl="2" indent="0">
              <a:buNone/>
            </a:pPr>
            <a:r>
              <a:rPr lang="en-US" b="1" dirty="0">
                <a:sym typeface="Calibri"/>
              </a:rPr>
              <a:t>Implications</a:t>
            </a:r>
          </a:p>
          <a:p>
            <a:pPr marL="0" lvl="2" indent="0">
              <a:buNone/>
            </a:pPr>
            <a:endParaRPr lang="en-US" b="1" dirty="0">
              <a:sym typeface="Calibri"/>
            </a:endParaRPr>
          </a:p>
          <a:p>
            <a:pPr lvl="2"/>
            <a:r>
              <a:rPr lang="en-US" dirty="0">
                <a:sym typeface="Calibri"/>
              </a:rPr>
              <a:t>Impact of CO2: Clear link to the greenhouse effect</a:t>
            </a:r>
          </a:p>
          <a:p>
            <a:pPr lvl="2"/>
            <a:r>
              <a:rPr lang="en-US" dirty="0">
                <a:sym typeface="Calibri"/>
              </a:rPr>
              <a:t>The dynamics of the changes in the land cover can be associated with many factors other than temperature</a:t>
            </a:r>
            <a:endParaRPr lang="en-US" dirty="0"/>
          </a:p>
          <a:p>
            <a:pPr marL="0" lvl="2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26219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631690" y="4293096"/>
            <a:ext cx="8928620" cy="1224632"/>
          </a:xfrm>
        </p:spPr>
        <p:txBody>
          <a:bodyPr/>
          <a:lstStyle/>
          <a:p>
            <a:pPr algn="ctr"/>
            <a:r>
              <a:rPr lang="en-US" sz="3600" dirty="0"/>
              <a:t>Thank You</a:t>
            </a:r>
            <a:br>
              <a:rPr lang="en-US" sz="3600" dirty="0"/>
            </a:br>
            <a:r>
              <a:rPr lang="en-US" sz="3600" dirty="0"/>
              <a:t>Any Questions?</a:t>
            </a:r>
            <a:endParaRPr lang="de-DE" sz="3600" dirty="0"/>
          </a:p>
        </p:txBody>
      </p:sp>
      <p:pic>
        <p:nvPicPr>
          <p:cNvPr id="5" name="Picture 4" descr="A cloud with text in the middle of a forest&#10;&#10;Description automatically generated">
            <a:extLst>
              <a:ext uri="{FF2B5EF4-FFF2-40B4-BE49-F238E27FC236}">
                <a16:creationId xmlns:a16="http://schemas.microsoft.com/office/drawing/2014/main" id="{AC13002D-E9E0-2AA0-CA0E-0997CB4794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5" y="1"/>
            <a:ext cx="12192000" cy="4221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1121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A97E7-B456-42B8-BFEB-782D6641B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BD2D2C-D2CA-4EA2-89DD-53371D344012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84EAFE-FA2E-4A6C-9A56-A41BDB3A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591D83-F1E4-4026-91B4-4B64130E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33375"/>
            <a:ext cx="10008740" cy="359321"/>
          </a:xfrm>
        </p:spPr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ED318D-D0F5-4655-8441-FDC15AA66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04453C76-0582-5BE8-1482-7EE6BD8CE7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90" y="1268761"/>
            <a:ext cx="10512421" cy="5039652"/>
          </a:xfrm>
        </p:spPr>
        <p:txBody>
          <a:bodyPr/>
          <a:lstStyle/>
          <a:p>
            <a:pPr marL="228600" lvl="1" indent="-228600">
              <a:buFont typeface="+mj-lt"/>
              <a:buAutoNum type="arabicPeriod"/>
            </a:pPr>
            <a:r>
              <a:rPr lang="en-US" sz="1200" b="0" dirty="0">
                <a:latin typeface="+mn-lt"/>
              </a:rPr>
              <a:t>NOAA/GML Dr. Pieter Tans and Scripps Institution of Oceanography Dr. Ralph Keeling. World monthly atmospheric carbon dioxide concentrations. https://climatedata.imf.org/datasets/9c3764c0efcc4c71934ab3988f219e0e_0/about, 2024.</a:t>
            </a:r>
          </a:p>
          <a:p>
            <a:pPr marL="228600" lvl="1" indent="-228600">
              <a:buFont typeface="+mj-lt"/>
              <a:buAutoNum type="arabicPeriod"/>
            </a:pPr>
            <a:endParaRPr lang="en-US" sz="1200" b="0" dirty="0">
              <a:latin typeface="+mn-lt"/>
            </a:endParaRPr>
          </a:p>
          <a:p>
            <a:pPr marL="228600" lvl="1" indent="-228600">
              <a:buFont typeface="+mj-lt"/>
              <a:buAutoNum type="arabicPeriod"/>
            </a:pPr>
            <a:r>
              <a:rPr lang="en-US" sz="1200" b="0" dirty="0">
                <a:latin typeface="+mn-lt"/>
              </a:rPr>
              <a:t>FAO. Temperature change. https://climatedata.imf.org/datasets/4063314923d74187be9596f10d034914_0/about, 2024.</a:t>
            </a:r>
          </a:p>
          <a:p>
            <a:pPr marL="228600" lvl="1" indent="-228600">
              <a:buFont typeface="+mj-lt"/>
              <a:buAutoNum type="arabicPeriod"/>
            </a:pPr>
            <a:endParaRPr lang="en-US" sz="1200" b="0" dirty="0">
              <a:latin typeface="+mn-lt"/>
            </a:endParaRPr>
          </a:p>
          <a:p>
            <a:pPr marL="228600" lvl="1" indent="-228600">
              <a:buFont typeface="+mj-lt"/>
              <a:buAutoNum type="arabicPeriod"/>
            </a:pPr>
            <a:r>
              <a:rPr lang="en-US" sz="1200" b="0" dirty="0">
                <a:latin typeface="+mn-lt"/>
              </a:rPr>
              <a:t>NOAA Laboratory for Satellite Altimetry. Sea level rise. https://climatedata.imf.org/datasets/b84a7e25159b4c65ba62d3f82c605855/about, 2024.</a:t>
            </a:r>
          </a:p>
          <a:p>
            <a:pPr marL="228600" lvl="1" indent="-228600">
              <a:buFont typeface="+mj-lt"/>
              <a:buAutoNum type="arabicPeriod"/>
            </a:pPr>
            <a:endParaRPr lang="en-US" sz="1200" b="0" dirty="0">
              <a:latin typeface="+mn-lt"/>
            </a:endParaRPr>
          </a:p>
          <a:p>
            <a:pPr marL="228600" lvl="1" indent="-228600">
              <a:buFont typeface="+mj-lt"/>
              <a:buAutoNum type="arabicPeriod"/>
            </a:pPr>
            <a:r>
              <a:rPr lang="en-US" sz="1200" b="0" dirty="0">
                <a:latin typeface="+mn-lt"/>
              </a:rPr>
              <a:t>FAO; IMF staff calculations. Land cover. https://climatedata.imf.org/datasets/b1e6c0ea281f47b285addae0cbb28f4b/about, 2024.</a:t>
            </a:r>
          </a:p>
        </p:txBody>
      </p:sp>
    </p:spTree>
    <p:extLst>
      <p:ext uri="{BB962C8B-B14F-4D97-AF65-F5344CB8AC3E}">
        <p14:creationId xmlns:p14="http://schemas.microsoft.com/office/powerpoint/2010/main" val="34894725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565269-88DD-09CE-AB86-67CC1C96F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DA98513-F200-47E7-A944-9D5582023233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E3784A-FF55-F3F5-8EF4-536128D9BF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B23145-0EAB-8CB6-5118-F99C401FA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4B61B1-2826-2676-5985-E9CB51C865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7" name="Diagram 3">
            <a:extLst>
              <a:ext uri="{FF2B5EF4-FFF2-40B4-BE49-F238E27FC236}">
                <a16:creationId xmlns:a16="http://schemas.microsoft.com/office/drawing/2014/main" id="{DA5B6F95-7B24-B733-5BD1-770B8A888B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7474906"/>
              </p:ext>
            </p:extLst>
          </p:nvPr>
        </p:nvGraphicFramePr>
        <p:xfrm>
          <a:off x="2055963" y="981973"/>
          <a:ext cx="7921924" cy="53002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216838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A97E7-B456-42B8-BFEB-782D6641B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8B8006-763F-45BB-8462-0F3E314667FA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84EAFE-FA2E-4A6C-9A56-A41BDB3A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591D83-F1E4-4026-91B4-4B64130E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579" y="332656"/>
            <a:ext cx="10368033" cy="503238"/>
          </a:xfrm>
        </p:spPr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ED318D-D0F5-4655-8441-FDC15AA66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01C48F-84D7-49FF-B742-435999AADF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579" y="939424"/>
            <a:ext cx="10368034" cy="5153872"/>
          </a:xfrm>
        </p:spPr>
        <p:txBody>
          <a:bodyPr/>
          <a:lstStyle/>
          <a:p>
            <a:pPr lvl="1"/>
            <a:r>
              <a:rPr lang="de-DE" dirty="0"/>
              <a:t>Climate Change </a:t>
            </a:r>
            <a:r>
              <a:rPr lang="de-DE" b="0" dirty="0"/>
              <a:t>is a critical issue affecting various environmental contexts</a:t>
            </a:r>
          </a:p>
          <a:p>
            <a:pPr lvl="1"/>
            <a:endParaRPr lang="de-DE" dirty="0"/>
          </a:p>
          <a:p>
            <a:pPr lvl="2"/>
            <a:r>
              <a:rPr lang="en-US" dirty="0"/>
              <a:t>Rising global temperatures and shifting precipitation patterns</a:t>
            </a:r>
          </a:p>
          <a:p>
            <a:pPr lvl="2"/>
            <a:r>
              <a:rPr lang="en-US" dirty="0"/>
              <a:t>Increased frequency and severity of extreme weather events (e.g., hurricanes, droughts)</a:t>
            </a:r>
          </a:p>
          <a:p>
            <a:pPr lvl="2"/>
            <a:r>
              <a:rPr lang="en-US" dirty="0"/>
              <a:t>Melting polar ice and glaciers contributing to sea level rise</a:t>
            </a:r>
          </a:p>
          <a:p>
            <a:pPr lvl="2"/>
            <a:r>
              <a:rPr lang="en-US" dirty="0"/>
              <a:t>Changes in ecosystems and biodiversity loss</a:t>
            </a:r>
          </a:p>
          <a:p>
            <a:pPr lvl="2"/>
            <a:r>
              <a:rPr lang="en-US" dirty="0"/>
              <a:t>Impacts on agriculture, water resources, and human health</a:t>
            </a:r>
            <a:endParaRPr lang="de-DE" dirty="0"/>
          </a:p>
        </p:txBody>
      </p:sp>
      <p:pic>
        <p:nvPicPr>
          <p:cNvPr id="1026" name="Picture 2" descr="Environmental Health Image">
            <a:extLst>
              <a:ext uri="{FF2B5EF4-FFF2-40B4-BE49-F238E27FC236}">
                <a16:creationId xmlns:a16="http://schemas.microsoft.com/office/drawing/2014/main" id="{8C7C20D0-51D1-D51F-3E2E-AD97F4263B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9553" y="3516360"/>
            <a:ext cx="7048500" cy="239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76577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A97E7-B456-42B8-BFEB-782D6641B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1726601-1A82-462F-A357-6CE922083183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84EAFE-FA2E-4A6C-9A56-A41BDB3A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591D83-F1E4-4026-91B4-4B64130E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579" y="289322"/>
            <a:ext cx="10368033" cy="503238"/>
          </a:xfrm>
        </p:spPr>
        <p:txBody>
          <a:bodyPr/>
          <a:lstStyle/>
          <a:p>
            <a:r>
              <a:rPr lang="en-US" dirty="0"/>
              <a:t>Research Focu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ED318D-D0F5-4655-8441-FDC15AA66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01C48F-84D7-49FF-B742-435999AADF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579" y="939424"/>
            <a:ext cx="10368034" cy="5153872"/>
          </a:xfrm>
        </p:spPr>
        <p:txBody>
          <a:bodyPr/>
          <a:lstStyle/>
          <a:p>
            <a:pPr marL="0" lvl="2" indent="0">
              <a:buNone/>
            </a:pPr>
            <a:r>
              <a:rPr lang="en-US" b="1" dirty="0"/>
              <a:t>Investigative Questions</a:t>
            </a:r>
          </a:p>
          <a:p>
            <a:pPr marL="0" lvl="2" indent="0">
              <a:buNone/>
            </a:pPr>
            <a:endParaRPr lang="en-US" b="1" dirty="0"/>
          </a:p>
          <a:p>
            <a:pPr lvl="2"/>
            <a:r>
              <a:rPr lang="en-US" dirty="0"/>
              <a:t>How do changes in atmospheric CO2 concentrations correlate with rising sea levels over time?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Is there a correlation between rising mean surface temperatures and land cover changes?</a:t>
            </a:r>
          </a:p>
          <a:p>
            <a:pPr lvl="2"/>
            <a:endParaRPr lang="en-US" dirty="0"/>
          </a:p>
          <a:p>
            <a:pPr marL="0" lvl="2" indent="0">
              <a:buNone/>
            </a:pPr>
            <a:r>
              <a:rPr lang="en-US" b="1" dirty="0"/>
              <a:t>Significance</a:t>
            </a:r>
          </a:p>
          <a:p>
            <a:pPr marL="0" lvl="2" indent="0">
              <a:buNone/>
            </a:pPr>
            <a:endParaRPr lang="en-US" b="1" dirty="0"/>
          </a:p>
          <a:p>
            <a:pPr lvl="2"/>
            <a:r>
              <a:rPr lang="en-US" dirty="0"/>
              <a:t>Understanding these correlations helps in predicting future climate scenarios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Informs policy-making and climate adaptation strategies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Provides insights into mitigating adverse effects on the environment and societ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9238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34E977-1E87-6265-B85A-003F6A72A7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B434083-65DC-4489-9389-C5098B137E00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FE9F5F-0480-8245-8B49-A1A75A8A1E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16A8811-28CE-B08A-4705-990865A9EE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96192"/>
            <a:ext cx="10303200" cy="503238"/>
          </a:xfrm>
        </p:spPr>
        <p:txBody>
          <a:bodyPr/>
          <a:lstStyle/>
          <a:p>
            <a:r>
              <a:rPr lang="de-DE" dirty="0"/>
              <a:t>Challenges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9C51C6-2729-CEE7-7C41-B52A92C813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C06EC9A-5ECB-F732-81C1-891810A8CB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7" y="1052736"/>
            <a:ext cx="10512421" cy="5112991"/>
          </a:xfrm>
        </p:spPr>
        <p:txBody>
          <a:bodyPr/>
          <a:lstStyle/>
          <a:p>
            <a:pPr marL="0" lvl="2" indent="0">
              <a:buNone/>
            </a:pPr>
            <a:r>
              <a:rPr lang="en-US" b="1" dirty="0"/>
              <a:t>Integration of data </a:t>
            </a:r>
          </a:p>
          <a:p>
            <a:pPr lvl="2"/>
            <a:r>
              <a:rPr lang="en-US" dirty="0"/>
              <a:t>Joining data from different sources but at the same time keep them standardized in terms of structures and measures</a:t>
            </a:r>
          </a:p>
          <a:p>
            <a:pPr marL="0" lvl="2" indent="0">
              <a:buNone/>
            </a:pPr>
            <a:r>
              <a:rPr lang="en-US" b="1" dirty="0"/>
              <a:t>Quality of data </a:t>
            </a:r>
          </a:p>
          <a:p>
            <a:pPr lvl="2"/>
            <a:r>
              <a:rPr lang="en-US" dirty="0"/>
              <a:t>Dealing with the nonexistent values and ensuring that data is actual</a:t>
            </a:r>
          </a:p>
          <a:p>
            <a:pPr lvl="2"/>
            <a:r>
              <a:rPr lang="en-US" dirty="0"/>
              <a:t>Some of the tasks involved in the management of various levels of detail are for instance: Monthly information that can be contrasted with yearly information</a:t>
            </a:r>
          </a:p>
          <a:p>
            <a:pPr marL="0" lvl="2" indent="0">
              <a:buNone/>
            </a:pPr>
            <a:r>
              <a:rPr lang="en-US" b="1" dirty="0"/>
              <a:t>Coverage over time </a:t>
            </a:r>
          </a:p>
          <a:p>
            <a:pPr lvl="2"/>
            <a:r>
              <a:rPr lang="en-US" dirty="0"/>
              <a:t> Make sure that datasets have to have overlapping periods for correlation analysis that makes sense</a:t>
            </a:r>
          </a:p>
          <a:p>
            <a:pPr marL="0" lvl="2" indent="0">
              <a:buNone/>
            </a:pPr>
            <a:r>
              <a:rPr lang="en-US" b="1" dirty="0"/>
              <a:t>Alignment of geographical features</a:t>
            </a:r>
          </a:p>
          <a:p>
            <a:pPr lvl="2"/>
            <a:r>
              <a:rPr lang="en-US" dirty="0"/>
              <a:t>Classification of data into pre-defined areas of geography (for instance; countries, regions)</a:t>
            </a:r>
          </a:p>
          <a:p>
            <a:pPr lvl="2"/>
            <a:r>
              <a:rPr lang="en-US" dirty="0"/>
              <a:t>It would be possible to describe relationships between the different elements as rather complex</a:t>
            </a:r>
          </a:p>
          <a:p>
            <a:pPr marL="0" lvl="2" indent="0">
              <a:buNone/>
            </a:pPr>
            <a:r>
              <a:rPr lang="en-US" b="1" dirty="0"/>
              <a:t>Restrictions in computing capabilities</a:t>
            </a:r>
          </a:p>
          <a:p>
            <a:pPr lvl="2"/>
            <a:r>
              <a:rPr lang="en-US" dirty="0"/>
              <a:t>To handle large amounts of data and perform complex statistical analysis since that is one of its strengths</a:t>
            </a:r>
          </a:p>
          <a:p>
            <a:pPr marL="0" lvl="2" indent="0">
              <a:buNone/>
            </a:pPr>
            <a:r>
              <a:rPr lang="en-US" b="1" dirty="0"/>
              <a:t>Data Uncertainty </a:t>
            </a:r>
          </a:p>
          <a:p>
            <a:pPr lvl="2"/>
            <a:r>
              <a:rPr lang="en-US" dirty="0"/>
              <a:t>Managing risks and instabilities as to climate-related data and prediction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0792964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A97E7-B456-42B8-BFEB-782D6641B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8063F9-0688-42B0-AB1A-7227E4A5EA14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84EAFE-FA2E-4A6C-9A56-A41BDB3A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591D83-F1E4-4026-91B4-4B64130E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580" y="280357"/>
            <a:ext cx="10368033" cy="503238"/>
          </a:xfrm>
        </p:spPr>
        <p:txBody>
          <a:bodyPr/>
          <a:lstStyle/>
          <a:p>
            <a:r>
              <a:rPr lang="en-US" dirty="0"/>
              <a:t>Data Sources, Structure and Quality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ED318D-D0F5-4655-8441-FDC15AA66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01C48F-84D7-49FF-B742-435999AADF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579" y="939424"/>
            <a:ext cx="10368034" cy="5153872"/>
          </a:xfrm>
        </p:spPr>
        <p:txBody>
          <a:bodyPr/>
          <a:lstStyle/>
          <a:p>
            <a:pPr lvl="2"/>
            <a:r>
              <a:rPr lang="en-US" dirty="0"/>
              <a:t>Annual Surface Temperature Change [2] (1961–2021): Time series, Yearly frequency, &lt;8% missing data, no incorrect data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Monthly Atmospheric CO2 Concentrations [1] (1958-2023): Time series, Monthly frequency, no missing data, no incorrect data</a:t>
            </a:r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en-US" dirty="0"/>
              <a:t>Change in Mean Sea Levels [3] (1993-2022): Time series, Monthly frequency, no missing data, no incorrect data</a:t>
            </a:r>
          </a:p>
          <a:p>
            <a:pPr marL="0" lvl="2" indent="0">
              <a:buNone/>
            </a:pPr>
            <a:endParaRPr lang="en-US" dirty="0"/>
          </a:p>
          <a:p>
            <a:pPr lvl="2"/>
            <a:r>
              <a:rPr lang="en-US" dirty="0"/>
              <a:t>Land Cover Altering Indicator [4] (1992–2020): Time series, Yearly frequency, &lt;0.3% missing data, no incorrect data</a:t>
            </a:r>
          </a:p>
          <a:p>
            <a:pPr lvl="2"/>
            <a:endParaRPr lang="en-US" dirty="0"/>
          </a:p>
          <a:p>
            <a:pPr marL="0" lvl="2" indent="0">
              <a:buNone/>
            </a:pPr>
            <a:r>
              <a:rPr lang="en-US" b="1" dirty="0"/>
              <a:t>Licenses and Permissions</a:t>
            </a:r>
          </a:p>
          <a:p>
            <a:pPr marL="0" lvl="2" indent="0">
              <a:buNone/>
            </a:pPr>
            <a:endParaRPr lang="en-US" b="1" dirty="0"/>
          </a:p>
          <a:p>
            <a:pPr lvl="2"/>
            <a:r>
              <a:rPr lang="en-US" dirty="0"/>
              <a:t>The data sources are publicly available on </a:t>
            </a:r>
            <a:r>
              <a:rPr lang="en-US" dirty="0">
                <a:hlinkClick r:id="rId2"/>
              </a:rPr>
              <a:t>IMF</a:t>
            </a:r>
            <a:r>
              <a:rPr lang="en-US" dirty="0"/>
              <a:t> under open-data licenses</a:t>
            </a:r>
          </a:p>
          <a:p>
            <a:pPr lvl="2"/>
            <a:r>
              <a:rPr lang="en-US" dirty="0"/>
              <a:t>Detailed license information can be found at </a:t>
            </a:r>
            <a:r>
              <a:rPr lang="en-US" dirty="0">
                <a:hlinkClick r:id="rId3"/>
              </a:rPr>
              <a:t>License</a:t>
            </a:r>
            <a:endParaRPr lang="en-US" dirty="0"/>
          </a:p>
          <a:p>
            <a:pPr marL="0" lvl="2" indent="0">
              <a:buNone/>
            </a:pPr>
            <a:endParaRPr lang="en-US" b="1" dirty="0"/>
          </a:p>
          <a:p>
            <a:pPr marL="0" lvl="2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5356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720CF30-8148-0D9D-42FC-E3D247F40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746F017-0590-4E8F-BCE7-43F2BC3D10CD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0C573E-3ED6-C46C-DDB1-4FC1D1EDF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592641-0A45-8247-A2B7-009B09160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of the Project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19202F-6D9A-9C14-7A48-43C586E59D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BDE3EADD-4A3B-8152-94A1-BD51141380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0304950"/>
              </p:ext>
            </p:extLst>
          </p:nvPr>
        </p:nvGraphicFramePr>
        <p:xfrm>
          <a:off x="735177" y="773469"/>
          <a:ext cx="10512421" cy="53110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295765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A97E7-B456-42B8-BFEB-782D6641B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5DB347B-B1A6-42DC-BB75-F746DB0A3A2A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84EAFE-FA2E-4A6C-9A56-A41BDB3A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591D83-F1E4-4026-91B4-4B64130E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579" y="333375"/>
            <a:ext cx="10368033" cy="503238"/>
          </a:xfrm>
        </p:spPr>
        <p:txBody>
          <a:bodyPr/>
          <a:lstStyle/>
          <a:p>
            <a:r>
              <a:rPr lang="en-US" dirty="0"/>
              <a:t>Data Pipeline Modu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ED318D-D0F5-4655-8441-FDC15AA66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01C48F-84D7-49FF-B742-435999AADF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579" y="939424"/>
            <a:ext cx="10368034" cy="5153872"/>
          </a:xfrm>
        </p:spPr>
        <p:txBody>
          <a:bodyPr/>
          <a:lstStyle/>
          <a:p>
            <a:pPr lvl="1"/>
            <a:endParaRPr lang="de-DE" dirty="0"/>
          </a:p>
          <a:p>
            <a:pPr marL="0" lvl="2" indent="0">
              <a:buNone/>
            </a:pPr>
            <a:r>
              <a:rPr lang="en-US" b="1" dirty="0"/>
              <a:t>Sub-Modules</a:t>
            </a:r>
          </a:p>
          <a:p>
            <a:pPr lvl="2"/>
            <a:r>
              <a:rPr lang="en-US" dirty="0"/>
              <a:t>Extractor, Transform, Loader</a:t>
            </a:r>
          </a:p>
          <a:p>
            <a:pPr lvl="2"/>
            <a:endParaRPr lang="en-US" dirty="0"/>
          </a:p>
          <a:p>
            <a:pPr marL="0" lvl="2" indent="0">
              <a:buNone/>
            </a:pPr>
            <a:r>
              <a:rPr lang="en-US" b="1" dirty="0"/>
              <a:t>ETL Process</a:t>
            </a:r>
          </a:p>
          <a:p>
            <a:pPr lvl="2"/>
            <a:r>
              <a:rPr lang="en-US" dirty="0"/>
              <a:t>Data extraction, column deletion, </a:t>
            </a:r>
          </a:p>
          <a:p>
            <a:pPr marL="0" lvl="2" indent="0">
              <a:buNone/>
            </a:pPr>
            <a:r>
              <a:rPr lang="en-US" dirty="0"/>
              <a:t>     data standardization, data loading</a:t>
            </a:r>
          </a:p>
          <a:p>
            <a:pPr lvl="2"/>
            <a:endParaRPr lang="en-US" dirty="0"/>
          </a:p>
          <a:p>
            <a:pPr marL="0" lvl="2" indent="0">
              <a:buNone/>
            </a:pPr>
            <a:r>
              <a:rPr lang="en-US" b="1" dirty="0"/>
              <a:t>Output</a:t>
            </a:r>
          </a:p>
          <a:p>
            <a:pPr lvl="2"/>
            <a:r>
              <a:rPr lang="en-US" dirty="0"/>
              <a:t>SQLite database with high-quality, consistent data</a:t>
            </a:r>
            <a:endParaRPr lang="de-DE" dirty="0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874A22B-78DD-7192-7825-34F5839E6E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0489353"/>
              </p:ext>
            </p:extLst>
          </p:nvPr>
        </p:nvGraphicFramePr>
        <p:xfrm>
          <a:off x="5015880" y="836613"/>
          <a:ext cx="6167733" cy="38165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A6192FD4-1EC3-538D-BB03-511C128F4F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6389346"/>
              </p:ext>
            </p:extLst>
          </p:nvPr>
        </p:nvGraphicFramePr>
        <p:xfrm>
          <a:off x="839787" y="4437112"/>
          <a:ext cx="10343826" cy="1872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8925817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A97E7-B456-42B8-BFEB-782D6641B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5DB347B-B1A6-42DC-BB75-F746DB0A3A2A}" type="datetime1">
              <a:rPr lang="en-US" smtClean="0">
                <a:solidFill>
                  <a:srgbClr val="000000"/>
                </a:solidFill>
              </a:rPr>
              <a:t>7/10/20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84EAFE-FA2E-4A6C-9A56-A41BDB3A8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591D83-F1E4-4026-91B4-4B64130E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579" y="333375"/>
            <a:ext cx="10368033" cy="503238"/>
          </a:xfrm>
        </p:spPr>
        <p:txBody>
          <a:bodyPr/>
          <a:lstStyle/>
          <a:p>
            <a:pPr lvl="0"/>
            <a:r>
              <a:rPr lang="en-US" dirty="0"/>
              <a:t>Data Exploration Module</a:t>
            </a:r>
            <a:endParaRPr lang="en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ED318D-D0F5-4655-8441-FDC15AA66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Hassan Ahmed - MADE Final Presentatio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01C48F-84D7-49FF-B742-435999AADF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579" y="939424"/>
            <a:ext cx="10368034" cy="5153872"/>
          </a:xfrm>
        </p:spPr>
        <p:txBody>
          <a:bodyPr/>
          <a:lstStyle/>
          <a:p>
            <a:pPr lvl="1"/>
            <a:endParaRPr lang="de-DE" dirty="0"/>
          </a:p>
          <a:p>
            <a:pPr marL="0" lvl="2" indent="0">
              <a:buNone/>
            </a:pPr>
            <a:r>
              <a:rPr lang="en-US" b="1" dirty="0"/>
              <a:t>Sub-Modules</a:t>
            </a:r>
          </a:p>
          <a:p>
            <a:pPr lvl="2"/>
            <a:r>
              <a:rPr lang="en-US" dirty="0"/>
              <a:t>Visualization: Functions for visualizations and maps</a:t>
            </a:r>
          </a:p>
          <a:p>
            <a:pPr lvl="2"/>
            <a:r>
              <a:rPr lang="en-US" dirty="0"/>
              <a:t>Helper: Functions for further processing and reshaping data for visualization</a:t>
            </a:r>
          </a:p>
          <a:p>
            <a:pPr lvl="2"/>
            <a:endParaRPr lang="en-US" dirty="0"/>
          </a:p>
          <a:p>
            <a:pPr marL="0" lvl="2" indent="0">
              <a:buNone/>
            </a:pPr>
            <a:endParaRPr lang="en-US" dirty="0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874A22B-78DD-7192-7825-34F5839E6E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2347305"/>
              </p:ext>
            </p:extLst>
          </p:nvPr>
        </p:nvGraphicFramePr>
        <p:xfrm>
          <a:off x="5591944" y="3211106"/>
          <a:ext cx="5591668" cy="2561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A3C687AD-E8AF-6165-5867-6FEA0A963C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2713538"/>
              </p:ext>
            </p:extLst>
          </p:nvPr>
        </p:nvGraphicFramePr>
        <p:xfrm>
          <a:off x="815579" y="3212976"/>
          <a:ext cx="5591668" cy="2561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198319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8272c5f-d4c3-4ba8-b142-2c71cf223724"/>
</p:tagLst>
</file>

<file path=ppt/theme/theme1.xml><?xml version="1.0" encoding="utf-8"?>
<a:theme xmlns:a="http://schemas.openxmlformats.org/drawingml/2006/main" name="FAPS PPT2022">
  <a:themeElements>
    <a:clrScheme name="FAPS Color 2022">
      <a:dk1>
        <a:srgbClr val="000000"/>
      </a:dk1>
      <a:lt1>
        <a:srgbClr val="FFFFFF"/>
      </a:lt1>
      <a:dk2>
        <a:srgbClr val="6A8A22"/>
      </a:dk2>
      <a:lt2>
        <a:srgbClr val="97C139"/>
      </a:lt2>
      <a:accent1>
        <a:srgbClr val="C5DE89"/>
      </a:accent1>
      <a:accent2>
        <a:srgbClr val="61C086"/>
      </a:accent2>
      <a:accent3>
        <a:srgbClr val="779FB5"/>
      </a:accent3>
      <a:accent4>
        <a:srgbClr val="6C8CC7"/>
      </a:accent4>
      <a:accent5>
        <a:srgbClr val="95A2AB"/>
      </a:accent5>
      <a:accent6>
        <a:srgbClr val="D1D9DE"/>
      </a:accent6>
      <a:hlink>
        <a:srgbClr val="97C139"/>
      </a:hlink>
      <a:folHlink>
        <a:srgbClr val="6A8A22"/>
      </a:folHlink>
    </a:clrScheme>
    <a:fontScheme name="FAPS font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5DE89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95A2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buClr>
            <a:srgbClr val="97C139"/>
          </a:buClr>
          <a:defRPr dirty="0" err="1" smtClean="0"/>
        </a:defPPr>
      </a:lstStyle>
    </a:txDef>
  </a:objectDefaults>
  <a:extraClrSchemeLst/>
  <a:custClrLst>
    <a:custClr name="Hausfarbe FAPS-Grün">
      <a:srgbClr val="97C139"/>
    </a:custClr>
    <a:custClr name="Hausfarbe Grün">
      <a:srgbClr val="658D67"/>
    </a:custClr>
    <a:custClr name="Hausfarbe Türkis">
      <a:srgbClr val="34677D"/>
    </a:custClr>
    <a:custClr name="FAU-Blau">
      <a:srgbClr val="002F6C"/>
    </a:custClr>
    <a:custClr name="Leer">
      <a:srgbClr val="FFFFFF"/>
    </a:custClr>
    <a:custClr name="Leer">
      <a:srgbClr val="FFFFFF"/>
    </a:custClr>
    <a:custClr name="Leer">
      <a:srgbClr val="FFFFFF"/>
    </a:custClr>
    <a:custClr name="Gelb">
      <a:srgbClr val="FFCB00"/>
    </a:custClr>
    <a:custClr name="Orange">
      <a:srgbClr val="F5821F"/>
    </a:custClr>
    <a:custClr name="Rot">
      <a:srgbClr val="DC1E26"/>
    </a:custClr>
    <a:custClr name="FAPS-Grün dunkel">
      <a:srgbClr val="6A8A22"/>
    </a:custClr>
    <a:custClr name="Grün dunkel">
      <a:srgbClr val="3F5F44"/>
    </a:custClr>
    <a:custClr name="Türkis dunkel">
      <a:srgbClr val="004359"/>
    </a:custClr>
    <a:custClr name="FAU-Blau dunkel">
      <a:srgbClr val="041E42"/>
    </a:custClr>
    <a:custClr name="Leer">
      <a:srgbClr val="FFFFFF"/>
    </a:custClr>
    <a:custClr name="Leer">
      <a:srgbClr val="FFFFFF"/>
    </a:custClr>
    <a:custClr name="Leer">
      <a:srgbClr val="FFFFFF"/>
    </a:custClr>
    <a:custClr name="Grau 1">
      <a:srgbClr val="95A2AB"/>
    </a:custClr>
    <a:custClr name="Grau 2">
      <a:srgbClr val="B0BCC4"/>
    </a:custClr>
    <a:custClr name="Grau 3">
      <a:srgbClr val="D1D9DE"/>
    </a:custClr>
    <a:custClr name="FAPS-Grün hell">
      <a:srgbClr val="C5DE89"/>
    </a:custClr>
    <a:custClr name="Grün hell">
      <a:srgbClr val="61C086"/>
    </a:custClr>
    <a:custClr name="TF Metallic">
      <a:srgbClr val="779FB5"/>
    </a:custClr>
    <a:custClr name="FAU-Blau hell">
      <a:srgbClr val="6C8CC7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FAPS_PowerPoint_Vorlage.potx" id="{E4120211-94D5-4EE8-A568-6BBC285A0691}" vid="{3590EA3C-5AAB-4FCB-8F83-83FBBDCCA9D8}"/>
    </a:ext>
  </a:extLst>
</a:theme>
</file>

<file path=ppt/theme/theme2.xml><?xml version="1.0" encoding="utf-8"?>
<a:theme xmlns:a="http://schemas.openxmlformats.org/drawingml/2006/main" name="1_FAPS PPT2022">
  <a:themeElements>
    <a:clrScheme name="FAPS Color 2022">
      <a:dk1>
        <a:srgbClr val="000000"/>
      </a:dk1>
      <a:lt1>
        <a:srgbClr val="FFFFFF"/>
      </a:lt1>
      <a:dk2>
        <a:srgbClr val="6A8A22"/>
      </a:dk2>
      <a:lt2>
        <a:srgbClr val="97C139"/>
      </a:lt2>
      <a:accent1>
        <a:srgbClr val="C5DE89"/>
      </a:accent1>
      <a:accent2>
        <a:srgbClr val="61C086"/>
      </a:accent2>
      <a:accent3>
        <a:srgbClr val="779FB5"/>
      </a:accent3>
      <a:accent4>
        <a:srgbClr val="6C8CC7"/>
      </a:accent4>
      <a:accent5>
        <a:srgbClr val="95A2AB"/>
      </a:accent5>
      <a:accent6>
        <a:srgbClr val="D1D9DE"/>
      </a:accent6>
      <a:hlink>
        <a:srgbClr val="97C139"/>
      </a:hlink>
      <a:folHlink>
        <a:srgbClr val="6A8A22"/>
      </a:folHlink>
    </a:clrScheme>
    <a:fontScheme name="FAPS font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5DE89"/>
        </a:solidFill>
        <a:ln>
          <a:noFill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95A2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buClr>
            <a:srgbClr val="97C139"/>
          </a:buClr>
          <a:defRPr dirty="0" err="1" smtClean="0"/>
        </a:defPPr>
      </a:lstStyle>
    </a:txDef>
  </a:objectDefaults>
  <a:extraClrSchemeLst/>
  <a:custClrLst>
    <a:custClr name="Hausfarbe FAPS-Grün">
      <a:srgbClr val="97C139"/>
    </a:custClr>
    <a:custClr name="Hausfarbe Grün">
      <a:srgbClr val="658D67"/>
    </a:custClr>
    <a:custClr name="Hausfarbe Türkis">
      <a:srgbClr val="34677D"/>
    </a:custClr>
    <a:custClr name="FAU-Blau">
      <a:srgbClr val="04316A"/>
    </a:custClr>
    <a:custClr name="Leer">
      <a:srgbClr val="FFFFFF"/>
    </a:custClr>
    <a:custClr name="Leer">
      <a:srgbClr val="FFFFFF"/>
    </a:custClr>
    <a:custClr name="Leer">
      <a:srgbClr val="FFFFFF"/>
    </a:custClr>
    <a:custClr name="Gelb">
      <a:srgbClr val="FFCB00"/>
    </a:custClr>
    <a:custClr name="Orange">
      <a:srgbClr val="F5821F"/>
    </a:custClr>
    <a:custClr name="Rot">
      <a:srgbClr val="DC1E26"/>
    </a:custClr>
    <a:custClr name="FAPS-Grün dunkel">
      <a:srgbClr val="6A8A22"/>
    </a:custClr>
    <a:custClr name="Grün dunkel">
      <a:srgbClr val="3F5F44"/>
    </a:custClr>
    <a:custClr name="Türkis dunkel">
      <a:srgbClr val="004359"/>
    </a:custClr>
    <a:custClr name="FAU-Blau dunkel">
      <a:srgbClr val="041E42"/>
    </a:custClr>
    <a:custClr name="Leer">
      <a:srgbClr val="FFFFFF"/>
    </a:custClr>
    <a:custClr name="Leer">
      <a:srgbClr val="FFFFFF"/>
    </a:custClr>
    <a:custClr name="Leer">
      <a:srgbClr val="FFFFFF"/>
    </a:custClr>
    <a:custClr name="Grau 1">
      <a:srgbClr val="95A2AB"/>
    </a:custClr>
    <a:custClr name="Grau 2">
      <a:srgbClr val="B0BCC4"/>
    </a:custClr>
    <a:custClr name="Grau 3">
      <a:srgbClr val="D1D9DE"/>
    </a:custClr>
    <a:custClr name="FAPS-Grün hell">
      <a:srgbClr val="C5DE89"/>
    </a:custClr>
    <a:custClr name="Grün hell">
      <a:srgbClr val="61C086"/>
    </a:custClr>
    <a:custClr name="TF Metallic">
      <a:srgbClr val="779FB5"/>
    </a:custClr>
    <a:custClr name="FAU-Blau hell">
      <a:srgbClr val="6C8CC7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FAPS PPT2022.potx" id="{B192D146-E38B-4F0A-A184-B3E6762FFEE8}" vid="{B1585063-498F-4EB4-9E3C-842195060628}"/>
    </a:ext>
  </a:extLst>
</a:theme>
</file>

<file path=ppt/theme/theme3.xml><?xml version="1.0" encoding="utf-8"?>
<a:theme xmlns:a="http://schemas.openxmlformats.org/drawingml/2006/main" name="2_FAPS PPT2022">
  <a:themeElements>
    <a:clrScheme name="FAPS Color 2022">
      <a:dk1>
        <a:srgbClr val="000000"/>
      </a:dk1>
      <a:lt1>
        <a:srgbClr val="FFFFFF"/>
      </a:lt1>
      <a:dk2>
        <a:srgbClr val="6A8A22"/>
      </a:dk2>
      <a:lt2>
        <a:srgbClr val="97C139"/>
      </a:lt2>
      <a:accent1>
        <a:srgbClr val="C5DE89"/>
      </a:accent1>
      <a:accent2>
        <a:srgbClr val="61C086"/>
      </a:accent2>
      <a:accent3>
        <a:srgbClr val="779FB5"/>
      </a:accent3>
      <a:accent4>
        <a:srgbClr val="6C8CC7"/>
      </a:accent4>
      <a:accent5>
        <a:srgbClr val="95A2AB"/>
      </a:accent5>
      <a:accent6>
        <a:srgbClr val="D1D9DE"/>
      </a:accent6>
      <a:hlink>
        <a:srgbClr val="97C139"/>
      </a:hlink>
      <a:folHlink>
        <a:srgbClr val="6A8A22"/>
      </a:folHlink>
    </a:clrScheme>
    <a:fontScheme name="FAPS font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5DE89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95A2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buClr>
            <a:srgbClr val="97C139"/>
          </a:buClr>
          <a:defRPr dirty="0" err="1" smtClean="0"/>
        </a:defPPr>
      </a:lstStyle>
    </a:txDef>
  </a:objectDefaults>
  <a:extraClrSchemeLst/>
  <a:custClrLst>
    <a:custClr name="Hausfarbe FAPS-Grün">
      <a:srgbClr val="97C139"/>
    </a:custClr>
    <a:custClr name="Hausfarbe Grün">
      <a:srgbClr val="658D67"/>
    </a:custClr>
    <a:custClr name="Hausfarbe Türkis">
      <a:srgbClr val="34677D"/>
    </a:custClr>
    <a:custClr name="FAU-Blau">
      <a:srgbClr val="002F6C"/>
    </a:custClr>
    <a:custClr name="Leer">
      <a:srgbClr val="FFFFFF"/>
    </a:custClr>
    <a:custClr name="Leer">
      <a:srgbClr val="FFFFFF"/>
    </a:custClr>
    <a:custClr name="Leer">
      <a:srgbClr val="FFFFFF"/>
    </a:custClr>
    <a:custClr name="Gelb">
      <a:srgbClr val="FFCB00"/>
    </a:custClr>
    <a:custClr name="Orange">
      <a:srgbClr val="F5821F"/>
    </a:custClr>
    <a:custClr name="Rot">
      <a:srgbClr val="DC1E26"/>
    </a:custClr>
    <a:custClr name="FAPS-Grün dunkel">
      <a:srgbClr val="6A8A22"/>
    </a:custClr>
    <a:custClr name="Grün dunkel">
      <a:srgbClr val="3F5F44"/>
    </a:custClr>
    <a:custClr name="Türkis dunkel">
      <a:srgbClr val="004359"/>
    </a:custClr>
    <a:custClr name="FAU-Blau dunkel">
      <a:srgbClr val="041E42"/>
    </a:custClr>
    <a:custClr name="Leer">
      <a:srgbClr val="FFFFFF"/>
    </a:custClr>
    <a:custClr name="Leer">
      <a:srgbClr val="FFFFFF"/>
    </a:custClr>
    <a:custClr name="Leer">
      <a:srgbClr val="FFFFFF"/>
    </a:custClr>
    <a:custClr name="Grau 1">
      <a:srgbClr val="95A2AB"/>
    </a:custClr>
    <a:custClr name="Grau 2">
      <a:srgbClr val="B0BCC4"/>
    </a:custClr>
    <a:custClr name="Grau 3">
      <a:srgbClr val="D1D9DE"/>
    </a:custClr>
    <a:custClr name="FAPS-Grün hell">
      <a:srgbClr val="C5DE89"/>
    </a:custClr>
    <a:custClr name="Grün hell">
      <a:srgbClr val="61C086"/>
    </a:custClr>
    <a:custClr name="TF Metallic">
      <a:srgbClr val="779FB5"/>
    </a:custClr>
    <a:custClr name="FAU-Blau hell">
      <a:srgbClr val="6C8CC7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FAPS_PowerPoint_Vorlage.potx" id="{E4120211-94D5-4EE8-A568-6BBC285A0691}" vid="{3590EA3C-5AAB-4FCB-8F83-83FBBDCCA9D8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PS_PowerPoint_Vorlage_v2022-02-27</Template>
  <TotalTime>0</TotalTime>
  <Words>1244</Words>
  <Application>Microsoft Office PowerPoint</Application>
  <PresentationFormat>Widescreen</PresentationFormat>
  <Paragraphs>233</Paragraphs>
  <Slides>1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Symbol</vt:lpstr>
      <vt:lpstr>Wingdings</vt:lpstr>
      <vt:lpstr>FAPS PPT2022</vt:lpstr>
      <vt:lpstr>1_FAPS PPT2022</vt:lpstr>
      <vt:lpstr>2_FAPS PPT2022</vt:lpstr>
      <vt:lpstr>Interlinked Dynamics: Exploring the Correlations between Surface Temperature, Atmospheric CO2, Sea Level Rise, and Land Cover Changes</vt:lpstr>
      <vt:lpstr>Table of Contents</vt:lpstr>
      <vt:lpstr>Introduction</vt:lpstr>
      <vt:lpstr>Research Focus</vt:lpstr>
      <vt:lpstr>Challenges</vt:lpstr>
      <vt:lpstr>Data Sources, Structure and Quality</vt:lpstr>
      <vt:lpstr>Overview of the Project</vt:lpstr>
      <vt:lpstr>Data Pipeline Module</vt:lpstr>
      <vt:lpstr>Data Exploration Module</vt:lpstr>
      <vt:lpstr>Deployment: CI (Tests &amp; Code Quality Checks)</vt:lpstr>
      <vt:lpstr>Documentation (HTML) -I</vt:lpstr>
      <vt:lpstr>Documentation (HTML) - II</vt:lpstr>
      <vt:lpstr>Analysis - I</vt:lpstr>
      <vt:lpstr>Analysis - II</vt:lpstr>
      <vt:lpstr>Conclusion</vt:lpstr>
      <vt:lpstr>Thank You Any Questions?</vt:lpstr>
      <vt:lpstr>References</vt:lpstr>
    </vt:vector>
  </TitlesOfParts>
  <Manager>Masuch Michael</Manager>
  <Company>FAPS E|Dr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your Applied AI Project ..</dc:title>
  <dc:subject>FAPS E|Drive</dc:subject>
  <dc:creator>Mayr, Andreas</dc:creator>
  <dc:description>FAPS E|Drive</dc:description>
  <cp:lastModifiedBy>Ahmed, Hassan</cp:lastModifiedBy>
  <cp:revision>23</cp:revision>
  <dcterms:created xsi:type="dcterms:W3CDTF">2022-05-15T15:13:28Z</dcterms:created>
  <dcterms:modified xsi:type="dcterms:W3CDTF">2024-07-10T04:00:42Z</dcterms:modified>
  <cp:contentStatus>FAPS E|Drive</cp:contentStatus>
</cp:coreProperties>
</file>